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heme/theme2.xml" ContentType="application/vnd.openxmlformats-officedocument.them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heme/theme3.xml" ContentType="application/vnd.openxmlformats-officedocument.them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34"/>
  </p:notesMasterIdLst>
  <p:handoutMasterIdLst>
    <p:handoutMasterId r:id="rId35"/>
  </p:handoutMasterIdLst>
  <p:sldIdLst>
    <p:sldId id="260" r:id="rId6"/>
    <p:sldId id="2076137281" r:id="rId7"/>
    <p:sldId id="2076137285" r:id="rId8"/>
    <p:sldId id="2076137255" r:id="rId9"/>
    <p:sldId id="2076137305" r:id="rId10"/>
    <p:sldId id="2076137268" r:id="rId11"/>
    <p:sldId id="2076137256" r:id="rId12"/>
    <p:sldId id="2076137306" r:id="rId13"/>
    <p:sldId id="2076137267" r:id="rId14"/>
    <p:sldId id="2076137307" r:id="rId15"/>
    <p:sldId id="2076137309" r:id="rId16"/>
    <p:sldId id="2076137282" r:id="rId17"/>
    <p:sldId id="2076137302" r:id="rId18"/>
    <p:sldId id="2076137304" r:id="rId19"/>
    <p:sldId id="2076137277" r:id="rId20"/>
    <p:sldId id="2076137278" r:id="rId21"/>
    <p:sldId id="2076137279" r:id="rId22"/>
    <p:sldId id="2076137280" r:id="rId23"/>
    <p:sldId id="2076137283" r:id="rId24"/>
    <p:sldId id="2076137291" r:id="rId25"/>
    <p:sldId id="2076137310" r:id="rId26"/>
    <p:sldId id="2076137312" r:id="rId27"/>
    <p:sldId id="2076137299" r:id="rId28"/>
    <p:sldId id="2076137315" r:id="rId29"/>
    <p:sldId id="2076137313" r:id="rId30"/>
    <p:sldId id="2076137314" r:id="rId31"/>
    <p:sldId id="2076137298" r:id="rId32"/>
    <p:sldId id="258" r:id="rId33"/>
  </p:sldIdLst>
  <p:sldSz cx="12192000" cy="6858000"/>
  <p:notesSz cx="7099300" cy="10234613"/>
  <p:custDataLst>
    <p:tags r:id="rId3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1E4AEA4-8DFA-4A89-87EB-49C32662AFE0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4713" autoAdjust="0"/>
    <p:restoredTop sz="95314" autoAdjust="0"/>
  </p:normalViewPr>
  <p:slideViewPr>
    <p:cSldViewPr snapToObjects="1" showGuides="1">
      <p:cViewPr varScale="1">
        <p:scale>
          <a:sx n="75" d="100"/>
          <a:sy n="75" d="100"/>
        </p:scale>
        <p:origin x="402" y="54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heme" Target="theme/theme1.xml"/><Relationship Id="rId21" Type="http://schemas.openxmlformats.org/officeDocument/2006/relationships/slide" Target="slides/slide16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12" Type="http://schemas.openxmlformats.org/officeDocument/2006/relationships/image" Target="../media/image4.png"/><Relationship Id="rId2" Type="http://schemas.openxmlformats.org/officeDocument/2006/relationships/tags" Target="../tags/tag149.xml"/><Relationship Id="rId1" Type="http://schemas.openxmlformats.org/officeDocument/2006/relationships/theme" Target="../theme/theme3.xml"/><Relationship Id="rId6" Type="http://schemas.openxmlformats.org/officeDocument/2006/relationships/tags" Target="../tags/tag153.xml"/><Relationship Id="rId11" Type="http://schemas.openxmlformats.org/officeDocument/2006/relationships/tags" Target="../tags/tag158.xml"/><Relationship Id="rId5" Type="http://schemas.openxmlformats.org/officeDocument/2006/relationships/tags" Target="../tags/tag152.xml"/><Relationship Id="rId10" Type="http://schemas.openxmlformats.org/officeDocument/2006/relationships/tags" Target="../tags/tag157.xml"/><Relationship Id="rId4" Type="http://schemas.openxmlformats.org/officeDocument/2006/relationships/tags" Target="../tags/tag151.xml"/><Relationship Id="rId9" Type="http://schemas.openxmlformats.org/officeDocument/2006/relationships/tags" Target="../tags/tag15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2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2-07-16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12" Type="http://schemas.openxmlformats.org/officeDocument/2006/relationships/image" Target="../media/image4.png"/><Relationship Id="rId2" Type="http://schemas.openxmlformats.org/officeDocument/2006/relationships/tags" Target="../tags/tag139.xml"/><Relationship Id="rId1" Type="http://schemas.openxmlformats.org/officeDocument/2006/relationships/theme" Target="../theme/theme2.x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5" Type="http://schemas.openxmlformats.org/officeDocument/2006/relationships/tags" Target="../tags/tag142.xml"/><Relationship Id="rId10" Type="http://schemas.openxmlformats.org/officeDocument/2006/relationships/tags" Target="../tags/tag147.xml"/><Relationship Id="rId4" Type="http://schemas.openxmlformats.org/officeDocument/2006/relationships/tags" Target="../tags/tag141.xml"/><Relationship Id="rId9" Type="http://schemas.openxmlformats.org/officeDocument/2006/relationships/tags" Target="../tags/tag14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2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2-07-16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4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51710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7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93580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sz="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dirty="0"/>
              <a:t>2020-09-28</a:t>
            </a:r>
          </a:p>
          <a:p>
            <a:endParaRPr lang="en-US" sz="10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28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97125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57468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9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11514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G" dirty="0"/>
              <a:t>If everything works well, enter server </a:t>
            </a:r>
            <a:r>
              <a:rPr lang="en-SG" dirty="0" err="1"/>
              <a:t>ip</a:t>
            </a:r>
            <a:r>
              <a:rPr lang="en-SG" dirty="0"/>
              <a:t> address on client board via tera term.</a:t>
            </a:r>
          </a:p>
          <a:p>
            <a:r>
              <a:rPr lang="en-SG" dirty="0"/>
              <a:t>Once connected, on server board, press user btn1 and can toggle led on client boar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3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84258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5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00582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6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17415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7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49715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8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82758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9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85574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0.xml"/><Relationship Id="rId9" Type="http://schemas.openxmlformats.org/officeDocument/2006/relationships/tags" Target="../tags/tag75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9.xml"/><Relationship Id="rId9" Type="http://schemas.openxmlformats.org/officeDocument/2006/relationships/tags" Target="../tags/tag8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5" Type="http://schemas.openxmlformats.org/officeDocument/2006/relationships/tags" Target="../tags/tag8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8.xml"/><Relationship Id="rId9" Type="http://schemas.openxmlformats.org/officeDocument/2006/relationships/tags" Target="../tags/tag9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6.xml"/><Relationship Id="rId9" Type="http://schemas.openxmlformats.org/officeDocument/2006/relationships/tags" Target="../tags/tag11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5" Type="http://schemas.openxmlformats.org/officeDocument/2006/relationships/tags" Target="../tags/tag11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15.xml"/><Relationship Id="rId9" Type="http://schemas.openxmlformats.org/officeDocument/2006/relationships/tags" Target="../tags/tag120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4.xml"/><Relationship Id="rId9" Type="http://schemas.openxmlformats.org/officeDocument/2006/relationships/tags" Target="../tags/tag129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4" Type="http://schemas.openxmlformats.org/officeDocument/2006/relationships/tags" Target="../tags/tag133.xml"/><Relationship Id="rId9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jp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.jp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3.xml"/><Relationship Id="rId9" Type="http://schemas.openxmlformats.org/officeDocument/2006/relationships/tags" Target="../tags/tag38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2.xml"/><Relationship Id="rId9" Type="http://schemas.openxmlformats.org/officeDocument/2006/relationships/tags" Target="../tags/tag47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1.xml"/><Relationship Id="rId9" Type="http://schemas.openxmlformats.org/officeDocument/2006/relationships/tags" Target="../tags/tag56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0.xml"/><Relationship Id="rId9" Type="http://schemas.openxmlformats.org/officeDocument/2006/relationships/tags" Target="../tags/tag6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IFX_Presentation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B346A59-9889-4A74-811F-F8B2A7A50914}"/>
              </a:ext>
            </a:extLst>
          </p:cNvPr>
          <p:cNvSpPr>
            <a:spLocks/>
          </p:cNvSpPr>
          <p:nvPr userDrawn="1"/>
        </p:nvSpPr>
        <p:spPr bwMode="auto">
          <a:xfrm>
            <a:off x="0" y="71"/>
            <a:ext cx="12193200" cy="5157050"/>
          </a:xfrm>
          <a:custGeom>
            <a:avLst/>
            <a:gdLst>
              <a:gd name="connsiteX0" fmla="*/ 0 w 12193200"/>
              <a:gd name="connsiteY0" fmla="*/ 3366894 h 5157050"/>
              <a:gd name="connsiteX1" fmla="*/ 2568686 w 12193200"/>
              <a:gd name="connsiteY1" fmla="*/ 4457237 h 5157050"/>
              <a:gd name="connsiteX2" fmla="*/ 2562846 w 12193200"/>
              <a:gd name="connsiteY2" fmla="*/ 4486161 h 5157050"/>
              <a:gd name="connsiteX3" fmla="*/ 2638446 w 12193200"/>
              <a:gd name="connsiteY3" fmla="*/ 4561761 h 5157050"/>
              <a:gd name="connsiteX4" fmla="*/ 2647621 w 12193200"/>
              <a:gd name="connsiteY4" fmla="*/ 4559909 h 5157050"/>
              <a:gd name="connsiteX5" fmla="*/ 2722582 w 12193200"/>
              <a:gd name="connsiteY5" fmla="*/ 5033199 h 5157050"/>
              <a:gd name="connsiteX6" fmla="*/ 0 w 12193200"/>
              <a:gd name="connsiteY6" fmla="*/ 5157050 h 5157050"/>
              <a:gd name="connsiteX7" fmla="*/ 9696957 w 12193200"/>
              <a:gd name="connsiteY7" fmla="*/ 2861253 h 5157050"/>
              <a:gd name="connsiteX8" fmla="*/ 8379344 w 12193200"/>
              <a:gd name="connsiteY8" fmla="*/ 4775870 h 5157050"/>
              <a:gd name="connsiteX9" fmla="*/ 2735348 w 12193200"/>
              <a:gd name="connsiteY9" fmla="*/ 5032618 h 5157050"/>
              <a:gd name="connsiteX10" fmla="*/ 2660080 w 12193200"/>
              <a:gd name="connsiteY10" fmla="*/ 4557394 h 5157050"/>
              <a:gd name="connsiteX11" fmla="*/ 2667873 w 12193200"/>
              <a:gd name="connsiteY11" fmla="*/ 4555820 h 5157050"/>
              <a:gd name="connsiteX12" fmla="*/ 2714046 w 12193200"/>
              <a:gd name="connsiteY12" fmla="*/ 4486161 h 5157050"/>
              <a:gd name="connsiteX13" fmla="*/ 2711582 w 12193200"/>
              <a:gd name="connsiteY13" fmla="*/ 4473954 h 5157050"/>
              <a:gd name="connsiteX14" fmla="*/ 12193200 w 12193200"/>
              <a:gd name="connsiteY14" fmla="*/ 2284950 h 5157050"/>
              <a:gd name="connsiteX15" fmla="*/ 12193200 w 12193200"/>
              <a:gd name="connsiteY15" fmla="*/ 4602376 h 5157050"/>
              <a:gd name="connsiteX16" fmla="*/ 8395259 w 12193200"/>
              <a:gd name="connsiteY16" fmla="*/ 4775146 h 5157050"/>
              <a:gd name="connsiteX17" fmla="*/ 9715286 w 12193200"/>
              <a:gd name="connsiteY17" fmla="*/ 2857021 h 5157050"/>
              <a:gd name="connsiteX18" fmla="*/ 11681447 w 12193200"/>
              <a:gd name="connsiteY18" fmla="*/ 0 h 5157050"/>
              <a:gd name="connsiteX19" fmla="*/ 12193200 w 12193200"/>
              <a:gd name="connsiteY19" fmla="*/ 0 h 5157050"/>
              <a:gd name="connsiteX20" fmla="*/ 12193200 w 12193200"/>
              <a:gd name="connsiteY20" fmla="*/ 2271916 h 5157050"/>
              <a:gd name="connsiteX21" fmla="*/ 9725950 w 12193200"/>
              <a:gd name="connsiteY21" fmla="*/ 2841525 h 5157050"/>
              <a:gd name="connsiteX22" fmla="*/ 0 w 12193200"/>
              <a:gd name="connsiteY22" fmla="*/ 0 h 5157050"/>
              <a:gd name="connsiteX23" fmla="*/ 11666031 w 12193200"/>
              <a:gd name="connsiteY23" fmla="*/ 0 h 5157050"/>
              <a:gd name="connsiteX24" fmla="*/ 9707621 w 12193200"/>
              <a:gd name="connsiteY24" fmla="*/ 2845757 h 5157050"/>
              <a:gd name="connsiteX25" fmla="*/ 2709068 w 12193200"/>
              <a:gd name="connsiteY25" fmla="*/ 4461501 h 5157050"/>
              <a:gd name="connsiteX26" fmla="*/ 2708105 w 12193200"/>
              <a:gd name="connsiteY26" fmla="*/ 4456734 h 5157050"/>
              <a:gd name="connsiteX27" fmla="*/ 2638446 w 12193200"/>
              <a:gd name="connsiteY27" fmla="*/ 4410561 h 5157050"/>
              <a:gd name="connsiteX28" fmla="*/ 2584989 w 12193200"/>
              <a:gd name="connsiteY28" fmla="*/ 4432704 h 5157050"/>
              <a:gd name="connsiteX29" fmla="*/ 2575734 w 12193200"/>
              <a:gd name="connsiteY29" fmla="*/ 4446431 h 5157050"/>
              <a:gd name="connsiteX30" fmla="*/ 0 w 12193200"/>
              <a:gd name="connsiteY30" fmla="*/ 3353098 h 515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3200" h="5157050">
                <a:moveTo>
                  <a:pt x="0" y="3366894"/>
                </a:moveTo>
                <a:lnTo>
                  <a:pt x="2568686" y="4457237"/>
                </a:lnTo>
                <a:lnTo>
                  <a:pt x="2562846" y="4486161"/>
                </a:lnTo>
                <a:cubicBezTo>
                  <a:pt x="2562846" y="4527914"/>
                  <a:pt x="2596693" y="4561761"/>
                  <a:pt x="2638446" y="4561761"/>
                </a:cubicBezTo>
                <a:lnTo>
                  <a:pt x="2647621" y="4559909"/>
                </a:lnTo>
                <a:lnTo>
                  <a:pt x="2722582" y="5033199"/>
                </a:lnTo>
                <a:lnTo>
                  <a:pt x="0" y="5157050"/>
                </a:lnTo>
                <a:close/>
                <a:moveTo>
                  <a:pt x="9696957" y="2861253"/>
                </a:moveTo>
                <a:lnTo>
                  <a:pt x="8379344" y="4775870"/>
                </a:lnTo>
                <a:lnTo>
                  <a:pt x="2735348" y="5032618"/>
                </a:lnTo>
                <a:lnTo>
                  <a:pt x="2660080" y="4557394"/>
                </a:lnTo>
                <a:lnTo>
                  <a:pt x="2667873" y="4555820"/>
                </a:lnTo>
                <a:cubicBezTo>
                  <a:pt x="2695007" y="4544344"/>
                  <a:pt x="2714046" y="4517476"/>
                  <a:pt x="2714046" y="4486161"/>
                </a:cubicBezTo>
                <a:lnTo>
                  <a:pt x="2711582" y="4473954"/>
                </a:lnTo>
                <a:close/>
                <a:moveTo>
                  <a:pt x="12193200" y="2284950"/>
                </a:moveTo>
                <a:lnTo>
                  <a:pt x="12193200" y="4602376"/>
                </a:lnTo>
                <a:lnTo>
                  <a:pt x="8395259" y="4775146"/>
                </a:lnTo>
                <a:lnTo>
                  <a:pt x="9715286" y="2857021"/>
                </a:lnTo>
                <a:close/>
                <a:moveTo>
                  <a:pt x="11681447" y="0"/>
                </a:moveTo>
                <a:lnTo>
                  <a:pt x="12193200" y="0"/>
                </a:lnTo>
                <a:lnTo>
                  <a:pt x="12193200" y="2271916"/>
                </a:lnTo>
                <a:lnTo>
                  <a:pt x="9725950" y="2841525"/>
                </a:lnTo>
                <a:close/>
                <a:moveTo>
                  <a:pt x="0" y="0"/>
                </a:moveTo>
                <a:lnTo>
                  <a:pt x="11666031" y="0"/>
                </a:lnTo>
                <a:lnTo>
                  <a:pt x="9707621" y="2845757"/>
                </a:lnTo>
                <a:lnTo>
                  <a:pt x="2709068" y="4461501"/>
                </a:lnTo>
                <a:lnTo>
                  <a:pt x="2708105" y="4456734"/>
                </a:lnTo>
                <a:cubicBezTo>
                  <a:pt x="2696629" y="4429600"/>
                  <a:pt x="2669761" y="4410561"/>
                  <a:pt x="2638446" y="4410561"/>
                </a:cubicBezTo>
                <a:cubicBezTo>
                  <a:pt x="2617570" y="4410561"/>
                  <a:pt x="2598670" y="4419023"/>
                  <a:pt x="2584989" y="4432704"/>
                </a:cubicBezTo>
                <a:lnTo>
                  <a:pt x="2575734" y="4446431"/>
                </a:lnTo>
                <a:lnTo>
                  <a:pt x="0" y="3353098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4000" y="1846800"/>
            <a:ext cx="8280000" cy="6480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774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1200" kern="0" baseline="0" noProof="0" dirty="0">
              <a:solidFill>
                <a:srgbClr val="E3003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 dirty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1200" kern="0" baseline="0" noProof="0" dirty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1200" kern="0" baseline="0" noProof="0" dirty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7" name="Logo">
            <a:extLst>
              <a:ext uri="{FF2B5EF4-FFF2-40B4-BE49-F238E27FC236}">
                <a16:creationId xmlns:a16="http://schemas.microsoft.com/office/drawing/2014/main" id="{442953E7-0661-4596-B845-3CAECE60C379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C766C59-49C3-4476-A96B-266E072BCA70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A172B81-6FC0-4237-BB10-33D4A26CF8E7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 dirty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IFX_Title_and_Four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IFX_Row_and_Two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IFX_Row_Two_Columns_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IFX_Title_and_Three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IFX_Row_and_Three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IFX_Four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IFX_Row_and_Four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IFX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baseline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FX_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FX_Final_Cla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pic>
        <p:nvPicPr>
          <p:cNvPr id="3" name="Logo - Claim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558552"/>
            <a:ext cx="12192000" cy="685801"/>
          </a:xfrm>
          <a:prstGeom prst="rect">
            <a:avLst/>
          </a:prstGeom>
        </p:spPr>
      </p:pic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811525" y="1376772"/>
            <a:ext cx="8568952" cy="4176464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F214AAF-1E9D-4FD3-8516-DCD8CEDA1EA1}"/>
              </a:ext>
            </a:extLst>
          </p:cNvPr>
          <p:cNvSpPr/>
          <p:nvPr/>
        </p:nvSpPr>
        <p:spPr>
          <a:xfrm>
            <a:off x="4444793" y="1933900"/>
            <a:ext cx="3429317" cy="1125638"/>
          </a:xfrm>
          <a:custGeom>
            <a:avLst/>
            <a:gdLst>
              <a:gd name="connsiteX0" fmla="*/ 2720290 w 3429317"/>
              <a:gd name="connsiteY0" fmla="*/ 1125639 h 1125638"/>
              <a:gd name="connsiteX1" fmla="*/ 2937850 w 3429317"/>
              <a:gd name="connsiteY1" fmla="*/ 788574 h 1125638"/>
              <a:gd name="connsiteX2" fmla="*/ 2720290 w 3429317"/>
              <a:gd name="connsiteY2" fmla="*/ 459348 h 1125638"/>
              <a:gd name="connsiteX3" fmla="*/ 2505859 w 3429317"/>
              <a:gd name="connsiteY3" fmla="*/ 791710 h 1125638"/>
              <a:gd name="connsiteX4" fmla="*/ 2720290 w 3429317"/>
              <a:gd name="connsiteY4" fmla="*/ 1125639 h 1125638"/>
              <a:gd name="connsiteX5" fmla="*/ 2638900 w 3429317"/>
              <a:gd name="connsiteY5" fmla="*/ 787007 h 1125638"/>
              <a:gd name="connsiteX6" fmla="*/ 2720290 w 3429317"/>
              <a:gd name="connsiteY6" fmla="*/ 572226 h 1125638"/>
              <a:gd name="connsiteX7" fmla="*/ 2804810 w 3429317"/>
              <a:gd name="connsiteY7" fmla="*/ 790142 h 1125638"/>
              <a:gd name="connsiteX8" fmla="*/ 2723420 w 3429317"/>
              <a:gd name="connsiteY8" fmla="*/ 1015897 h 1125638"/>
              <a:gd name="connsiteX9" fmla="*/ 2638900 w 3429317"/>
              <a:gd name="connsiteY9" fmla="*/ 787007 h 1125638"/>
              <a:gd name="connsiteX10" fmla="*/ 2238213 w 3429317"/>
              <a:gd name="connsiteY10" fmla="*/ 1125639 h 1125638"/>
              <a:gd name="connsiteX11" fmla="*/ 2418209 w 3429317"/>
              <a:gd name="connsiteY11" fmla="*/ 1040981 h 1125638"/>
              <a:gd name="connsiteX12" fmla="*/ 2369688 w 3429317"/>
              <a:gd name="connsiteY12" fmla="*/ 950052 h 1125638"/>
              <a:gd name="connsiteX13" fmla="*/ 2249169 w 3429317"/>
              <a:gd name="connsiteY13" fmla="*/ 1012761 h 1125638"/>
              <a:gd name="connsiteX14" fmla="*/ 2161519 w 3429317"/>
              <a:gd name="connsiteY14" fmla="*/ 953187 h 1125638"/>
              <a:gd name="connsiteX15" fmla="*/ 2142737 w 3429317"/>
              <a:gd name="connsiteY15" fmla="*/ 841877 h 1125638"/>
              <a:gd name="connsiteX16" fmla="*/ 2142737 w 3429317"/>
              <a:gd name="connsiteY16" fmla="*/ 829335 h 1125638"/>
              <a:gd name="connsiteX17" fmla="*/ 2424470 w 3429317"/>
              <a:gd name="connsiteY17" fmla="*/ 829335 h 1125638"/>
              <a:gd name="connsiteX18" fmla="*/ 2424470 w 3429317"/>
              <a:gd name="connsiteY18" fmla="*/ 801116 h 1125638"/>
              <a:gd name="connsiteX19" fmla="*/ 2363428 w 3429317"/>
              <a:gd name="connsiteY19" fmla="*/ 526761 h 1125638"/>
              <a:gd name="connsiteX20" fmla="*/ 2222561 w 3429317"/>
              <a:gd name="connsiteY20" fmla="*/ 459348 h 1125638"/>
              <a:gd name="connsiteX21" fmla="*/ 2070738 w 3429317"/>
              <a:gd name="connsiteY21" fmla="*/ 542439 h 1125638"/>
              <a:gd name="connsiteX22" fmla="*/ 2012826 w 3429317"/>
              <a:gd name="connsiteY22" fmla="*/ 791710 h 1125638"/>
              <a:gd name="connsiteX23" fmla="*/ 2238213 w 3429317"/>
              <a:gd name="connsiteY23" fmla="*/ 1125639 h 1125638"/>
              <a:gd name="connsiteX24" fmla="*/ 2224126 w 3429317"/>
              <a:gd name="connsiteY24" fmla="*/ 562819 h 1125638"/>
              <a:gd name="connsiteX25" fmla="*/ 2286734 w 3429317"/>
              <a:gd name="connsiteY25" fmla="*/ 608284 h 1125638"/>
              <a:gd name="connsiteX26" fmla="*/ 2300820 w 3429317"/>
              <a:gd name="connsiteY26" fmla="*/ 725865 h 1125638"/>
              <a:gd name="connsiteX27" fmla="*/ 2142737 w 3429317"/>
              <a:gd name="connsiteY27" fmla="*/ 725865 h 1125638"/>
              <a:gd name="connsiteX28" fmla="*/ 2224126 w 3429317"/>
              <a:gd name="connsiteY28" fmla="*/ 562819 h 1125638"/>
              <a:gd name="connsiteX29" fmla="*/ 3041152 w 3429317"/>
              <a:gd name="connsiteY29" fmla="*/ 1109961 h 1125638"/>
              <a:gd name="connsiteX30" fmla="*/ 3163237 w 3429317"/>
              <a:gd name="connsiteY30" fmla="*/ 1109961 h 1125638"/>
              <a:gd name="connsiteX31" fmla="*/ 3163237 w 3429317"/>
              <a:gd name="connsiteY31" fmla="*/ 639639 h 1125638"/>
              <a:gd name="connsiteX32" fmla="*/ 3252452 w 3429317"/>
              <a:gd name="connsiteY32" fmla="*/ 583200 h 1125638"/>
              <a:gd name="connsiteX33" fmla="*/ 3293147 w 3429317"/>
              <a:gd name="connsiteY33" fmla="*/ 598877 h 1125638"/>
              <a:gd name="connsiteX34" fmla="*/ 3307233 w 3429317"/>
              <a:gd name="connsiteY34" fmla="*/ 681968 h 1125638"/>
              <a:gd name="connsiteX35" fmla="*/ 3307233 w 3429317"/>
              <a:gd name="connsiteY35" fmla="*/ 1109961 h 1125638"/>
              <a:gd name="connsiteX36" fmla="*/ 3429318 w 3429317"/>
              <a:gd name="connsiteY36" fmla="*/ 1109961 h 1125638"/>
              <a:gd name="connsiteX37" fmla="*/ 3429318 w 3429317"/>
              <a:gd name="connsiteY37" fmla="*/ 625529 h 1125638"/>
              <a:gd name="connsiteX38" fmla="*/ 3399579 w 3429317"/>
              <a:gd name="connsiteY38" fmla="*/ 509516 h 1125638"/>
              <a:gd name="connsiteX39" fmla="*/ 3299408 w 3429317"/>
              <a:gd name="connsiteY39" fmla="*/ 464052 h 1125638"/>
              <a:gd name="connsiteX40" fmla="*/ 3153845 w 3429317"/>
              <a:gd name="connsiteY40" fmla="*/ 534600 h 1125638"/>
              <a:gd name="connsiteX41" fmla="*/ 3138194 w 3429317"/>
              <a:gd name="connsiteY41" fmla="*/ 459348 h 1125638"/>
              <a:gd name="connsiteX42" fmla="*/ 3023935 w 3429317"/>
              <a:gd name="connsiteY42" fmla="*/ 489136 h 1125638"/>
              <a:gd name="connsiteX43" fmla="*/ 3039587 w 3429317"/>
              <a:gd name="connsiteY43" fmla="*/ 642774 h 1125638"/>
              <a:gd name="connsiteX44" fmla="*/ 3039587 w 3429317"/>
              <a:gd name="connsiteY44" fmla="*/ 1109961 h 1125638"/>
              <a:gd name="connsiteX45" fmla="*/ 1623096 w 3429317"/>
              <a:gd name="connsiteY45" fmla="*/ 534600 h 1125638"/>
              <a:gd name="connsiteX46" fmla="*/ 1607444 w 3429317"/>
              <a:gd name="connsiteY46" fmla="*/ 459348 h 1125638"/>
              <a:gd name="connsiteX47" fmla="*/ 1493185 w 3429317"/>
              <a:gd name="connsiteY47" fmla="*/ 489136 h 1125638"/>
              <a:gd name="connsiteX48" fmla="*/ 1508837 w 3429317"/>
              <a:gd name="connsiteY48" fmla="*/ 642774 h 1125638"/>
              <a:gd name="connsiteX49" fmla="*/ 1508837 w 3429317"/>
              <a:gd name="connsiteY49" fmla="*/ 1108394 h 1125638"/>
              <a:gd name="connsiteX50" fmla="*/ 1630922 w 3429317"/>
              <a:gd name="connsiteY50" fmla="*/ 1108394 h 1125638"/>
              <a:gd name="connsiteX51" fmla="*/ 1630922 w 3429317"/>
              <a:gd name="connsiteY51" fmla="*/ 638071 h 1125638"/>
              <a:gd name="connsiteX52" fmla="*/ 1720137 w 3429317"/>
              <a:gd name="connsiteY52" fmla="*/ 581632 h 1125638"/>
              <a:gd name="connsiteX53" fmla="*/ 1760832 w 3429317"/>
              <a:gd name="connsiteY53" fmla="*/ 597310 h 1125638"/>
              <a:gd name="connsiteX54" fmla="*/ 1774919 w 3429317"/>
              <a:gd name="connsiteY54" fmla="*/ 680400 h 1125638"/>
              <a:gd name="connsiteX55" fmla="*/ 1774919 w 3429317"/>
              <a:gd name="connsiteY55" fmla="*/ 1108394 h 1125638"/>
              <a:gd name="connsiteX56" fmla="*/ 1897003 w 3429317"/>
              <a:gd name="connsiteY56" fmla="*/ 1108394 h 1125638"/>
              <a:gd name="connsiteX57" fmla="*/ 1897003 w 3429317"/>
              <a:gd name="connsiteY57" fmla="*/ 625529 h 1125638"/>
              <a:gd name="connsiteX58" fmla="*/ 1867264 w 3429317"/>
              <a:gd name="connsiteY58" fmla="*/ 509516 h 1125638"/>
              <a:gd name="connsiteX59" fmla="*/ 1767093 w 3429317"/>
              <a:gd name="connsiteY59" fmla="*/ 464052 h 1125638"/>
              <a:gd name="connsiteX60" fmla="*/ 1623096 w 3429317"/>
              <a:gd name="connsiteY60" fmla="*/ 534600 h 1125638"/>
              <a:gd name="connsiteX61" fmla="*/ 129910 w 3429317"/>
              <a:gd name="connsiteY61" fmla="*/ 260245 h 1125638"/>
              <a:gd name="connsiteX62" fmla="*/ 259820 w 3429317"/>
              <a:gd name="connsiteY62" fmla="*/ 130123 h 1125638"/>
              <a:gd name="connsiteX63" fmla="*/ 129910 w 3429317"/>
              <a:gd name="connsiteY63" fmla="*/ 0 h 1125638"/>
              <a:gd name="connsiteX64" fmla="*/ 0 w 3429317"/>
              <a:gd name="connsiteY64" fmla="*/ 130123 h 1125638"/>
              <a:gd name="connsiteX65" fmla="*/ 129910 w 3429317"/>
              <a:gd name="connsiteY65" fmla="*/ 260245 h 1125638"/>
              <a:gd name="connsiteX66" fmla="*/ 729376 w 3429317"/>
              <a:gd name="connsiteY66" fmla="*/ 1109961 h 1125638"/>
              <a:gd name="connsiteX67" fmla="*/ 729376 w 3429317"/>
              <a:gd name="connsiteY67" fmla="*/ 625529 h 1125638"/>
              <a:gd name="connsiteX68" fmla="*/ 699637 w 3429317"/>
              <a:gd name="connsiteY68" fmla="*/ 509516 h 1125638"/>
              <a:gd name="connsiteX69" fmla="*/ 599465 w 3429317"/>
              <a:gd name="connsiteY69" fmla="*/ 464052 h 1125638"/>
              <a:gd name="connsiteX70" fmla="*/ 453903 w 3429317"/>
              <a:gd name="connsiteY70" fmla="*/ 534600 h 1125638"/>
              <a:gd name="connsiteX71" fmla="*/ 438251 w 3429317"/>
              <a:gd name="connsiteY71" fmla="*/ 459348 h 1125638"/>
              <a:gd name="connsiteX72" fmla="*/ 325558 w 3429317"/>
              <a:gd name="connsiteY72" fmla="*/ 490703 h 1125638"/>
              <a:gd name="connsiteX73" fmla="*/ 341210 w 3429317"/>
              <a:gd name="connsiteY73" fmla="*/ 644342 h 1125638"/>
              <a:gd name="connsiteX74" fmla="*/ 341210 w 3429317"/>
              <a:gd name="connsiteY74" fmla="*/ 1109961 h 1125638"/>
              <a:gd name="connsiteX75" fmla="*/ 463294 w 3429317"/>
              <a:gd name="connsiteY75" fmla="*/ 1109961 h 1125638"/>
              <a:gd name="connsiteX76" fmla="*/ 463294 w 3429317"/>
              <a:gd name="connsiteY76" fmla="*/ 639639 h 1125638"/>
              <a:gd name="connsiteX77" fmla="*/ 552510 w 3429317"/>
              <a:gd name="connsiteY77" fmla="*/ 583200 h 1125638"/>
              <a:gd name="connsiteX78" fmla="*/ 593205 w 3429317"/>
              <a:gd name="connsiteY78" fmla="*/ 598877 h 1125638"/>
              <a:gd name="connsiteX79" fmla="*/ 607291 w 3429317"/>
              <a:gd name="connsiteY79" fmla="*/ 681968 h 1125638"/>
              <a:gd name="connsiteX80" fmla="*/ 607291 w 3429317"/>
              <a:gd name="connsiteY80" fmla="*/ 1109961 h 1125638"/>
              <a:gd name="connsiteX81" fmla="*/ 729376 w 3429317"/>
              <a:gd name="connsiteY81" fmla="*/ 1109961 h 1125638"/>
              <a:gd name="connsiteX82" fmla="*/ 1291277 w 3429317"/>
              <a:gd name="connsiteY82" fmla="*/ 225755 h 1125638"/>
              <a:gd name="connsiteX83" fmla="*/ 1209887 w 3429317"/>
              <a:gd name="connsiteY83" fmla="*/ 307277 h 1125638"/>
              <a:gd name="connsiteX84" fmla="*/ 1289712 w 3429317"/>
              <a:gd name="connsiteY84" fmla="*/ 388800 h 1125638"/>
              <a:gd name="connsiteX85" fmla="*/ 1371101 w 3429317"/>
              <a:gd name="connsiteY85" fmla="*/ 307277 h 1125638"/>
              <a:gd name="connsiteX86" fmla="*/ 1291277 w 3429317"/>
              <a:gd name="connsiteY86" fmla="*/ 225755 h 1125638"/>
              <a:gd name="connsiteX87" fmla="*/ 71998 w 3429317"/>
              <a:gd name="connsiteY87" fmla="*/ 1109961 h 1125638"/>
              <a:gd name="connsiteX88" fmla="*/ 194083 w 3429317"/>
              <a:gd name="connsiteY88" fmla="*/ 1109961 h 1125638"/>
              <a:gd name="connsiteX89" fmla="*/ 194083 w 3429317"/>
              <a:gd name="connsiteY89" fmla="*/ 346471 h 1125638"/>
              <a:gd name="connsiteX90" fmla="*/ 71998 w 3429317"/>
              <a:gd name="connsiteY90" fmla="*/ 362148 h 1125638"/>
              <a:gd name="connsiteX91" fmla="*/ 71998 w 3429317"/>
              <a:gd name="connsiteY91" fmla="*/ 1109961 h 1125638"/>
              <a:gd name="connsiteX92" fmla="*/ 1069021 w 3429317"/>
              <a:gd name="connsiteY92" fmla="*/ 301006 h 1125638"/>
              <a:gd name="connsiteX93" fmla="*/ 1126932 w 3429317"/>
              <a:gd name="connsiteY93" fmla="*/ 319819 h 1125638"/>
              <a:gd name="connsiteX94" fmla="*/ 1161366 w 3429317"/>
              <a:gd name="connsiteY94" fmla="*/ 224187 h 1125638"/>
              <a:gd name="connsiteX95" fmla="*/ 1047108 w 3429317"/>
              <a:gd name="connsiteY95" fmla="*/ 189697 h 1125638"/>
              <a:gd name="connsiteX96" fmla="*/ 953197 w 3429317"/>
              <a:gd name="connsiteY96" fmla="*/ 221052 h 1125638"/>
              <a:gd name="connsiteX97" fmla="*/ 892155 w 3429317"/>
              <a:gd name="connsiteY97" fmla="*/ 390368 h 1125638"/>
              <a:gd name="connsiteX98" fmla="*/ 893720 w 3429317"/>
              <a:gd name="connsiteY98" fmla="*/ 473458 h 1125638"/>
              <a:gd name="connsiteX99" fmla="*/ 851460 w 3429317"/>
              <a:gd name="connsiteY99" fmla="*/ 473458 h 1125638"/>
              <a:gd name="connsiteX100" fmla="*/ 851460 w 3429317"/>
              <a:gd name="connsiteY100" fmla="*/ 581632 h 1125638"/>
              <a:gd name="connsiteX101" fmla="*/ 893720 w 3429317"/>
              <a:gd name="connsiteY101" fmla="*/ 581632 h 1125638"/>
              <a:gd name="connsiteX102" fmla="*/ 893720 w 3429317"/>
              <a:gd name="connsiteY102" fmla="*/ 1108394 h 1125638"/>
              <a:gd name="connsiteX103" fmla="*/ 1018935 w 3429317"/>
              <a:gd name="connsiteY103" fmla="*/ 1108394 h 1125638"/>
              <a:gd name="connsiteX104" fmla="*/ 1018935 w 3429317"/>
              <a:gd name="connsiteY104" fmla="*/ 583200 h 1125638"/>
              <a:gd name="connsiteX105" fmla="*/ 1111281 w 3429317"/>
              <a:gd name="connsiteY105" fmla="*/ 583200 h 1125638"/>
              <a:gd name="connsiteX106" fmla="*/ 1134758 w 3429317"/>
              <a:gd name="connsiteY106" fmla="*/ 475026 h 1125638"/>
              <a:gd name="connsiteX107" fmla="*/ 1020500 w 3429317"/>
              <a:gd name="connsiteY107" fmla="*/ 475026 h 1125638"/>
              <a:gd name="connsiteX108" fmla="*/ 1020500 w 3429317"/>
              <a:gd name="connsiteY108" fmla="*/ 377826 h 1125638"/>
              <a:gd name="connsiteX109" fmla="*/ 1069021 w 3429317"/>
              <a:gd name="connsiteY109" fmla="*/ 301006 h 1125638"/>
              <a:gd name="connsiteX110" fmla="*/ 1228669 w 3429317"/>
              <a:gd name="connsiteY110" fmla="*/ 1109961 h 1125638"/>
              <a:gd name="connsiteX111" fmla="*/ 1352319 w 3429317"/>
              <a:gd name="connsiteY111" fmla="*/ 1109961 h 1125638"/>
              <a:gd name="connsiteX112" fmla="*/ 1352319 w 3429317"/>
              <a:gd name="connsiteY112" fmla="*/ 464052 h 1125638"/>
              <a:gd name="connsiteX113" fmla="*/ 1228669 w 3429317"/>
              <a:gd name="connsiteY113" fmla="*/ 479729 h 1125638"/>
              <a:gd name="connsiteX114" fmla="*/ 1228669 w 3429317"/>
              <a:gd name="connsiteY114" fmla="*/ 1109961 h 112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3429317" h="1125638">
                <a:moveTo>
                  <a:pt x="2720290" y="1125639"/>
                </a:moveTo>
                <a:cubicBezTo>
                  <a:pt x="2886199" y="1125639"/>
                  <a:pt x="2937850" y="950052"/>
                  <a:pt x="2937850" y="788574"/>
                </a:cubicBezTo>
                <a:cubicBezTo>
                  <a:pt x="2937850" y="572226"/>
                  <a:pt x="2847069" y="459348"/>
                  <a:pt x="2720290" y="459348"/>
                </a:cubicBezTo>
                <a:cubicBezTo>
                  <a:pt x="2560641" y="459348"/>
                  <a:pt x="2504294" y="634936"/>
                  <a:pt x="2505859" y="791710"/>
                </a:cubicBezTo>
                <a:cubicBezTo>
                  <a:pt x="2507425" y="946916"/>
                  <a:pt x="2551250" y="1125639"/>
                  <a:pt x="2720290" y="1125639"/>
                </a:cubicBezTo>
                <a:close/>
                <a:moveTo>
                  <a:pt x="2638900" y="787007"/>
                </a:moveTo>
                <a:cubicBezTo>
                  <a:pt x="2638900" y="722729"/>
                  <a:pt x="2638900" y="572226"/>
                  <a:pt x="2720290" y="572226"/>
                </a:cubicBezTo>
                <a:cubicBezTo>
                  <a:pt x="2807940" y="572226"/>
                  <a:pt x="2804810" y="721161"/>
                  <a:pt x="2804810" y="790142"/>
                </a:cubicBezTo>
                <a:cubicBezTo>
                  <a:pt x="2804810" y="855987"/>
                  <a:pt x="2804810" y="1015897"/>
                  <a:pt x="2723420" y="1015897"/>
                </a:cubicBezTo>
                <a:cubicBezTo>
                  <a:pt x="2635770" y="1014329"/>
                  <a:pt x="2638900" y="854419"/>
                  <a:pt x="2638900" y="787007"/>
                </a:cubicBezTo>
                <a:close/>
                <a:moveTo>
                  <a:pt x="2238213" y="1125639"/>
                </a:moveTo>
                <a:cubicBezTo>
                  <a:pt x="2305516" y="1125639"/>
                  <a:pt x="2363428" y="1098987"/>
                  <a:pt x="2418209" y="1040981"/>
                </a:cubicBezTo>
                <a:lnTo>
                  <a:pt x="2369688" y="950052"/>
                </a:lnTo>
                <a:cubicBezTo>
                  <a:pt x="2332124" y="990813"/>
                  <a:pt x="2294560" y="1012761"/>
                  <a:pt x="2249169" y="1012761"/>
                </a:cubicBezTo>
                <a:cubicBezTo>
                  <a:pt x="2211605" y="1012761"/>
                  <a:pt x="2180301" y="990813"/>
                  <a:pt x="2161519" y="953187"/>
                </a:cubicBezTo>
                <a:cubicBezTo>
                  <a:pt x="2145867" y="920265"/>
                  <a:pt x="2142737" y="882639"/>
                  <a:pt x="2142737" y="841877"/>
                </a:cubicBezTo>
                <a:lnTo>
                  <a:pt x="2142737" y="829335"/>
                </a:lnTo>
                <a:lnTo>
                  <a:pt x="2424470" y="829335"/>
                </a:lnTo>
                <a:lnTo>
                  <a:pt x="2424470" y="801116"/>
                </a:lnTo>
                <a:cubicBezTo>
                  <a:pt x="2424470" y="661587"/>
                  <a:pt x="2407253" y="584768"/>
                  <a:pt x="2363428" y="526761"/>
                </a:cubicBezTo>
                <a:cubicBezTo>
                  <a:pt x="2330559" y="482865"/>
                  <a:pt x="2282038" y="459348"/>
                  <a:pt x="2222561" y="459348"/>
                </a:cubicBezTo>
                <a:cubicBezTo>
                  <a:pt x="2159954" y="459348"/>
                  <a:pt x="2108303" y="487568"/>
                  <a:pt x="2070738" y="542439"/>
                </a:cubicBezTo>
                <a:cubicBezTo>
                  <a:pt x="2030044" y="602013"/>
                  <a:pt x="2012826" y="681968"/>
                  <a:pt x="2012826" y="791710"/>
                </a:cubicBezTo>
                <a:cubicBezTo>
                  <a:pt x="2011261" y="1001787"/>
                  <a:pt x="2094216" y="1125639"/>
                  <a:pt x="2238213" y="1125639"/>
                </a:cubicBezTo>
                <a:close/>
                <a:moveTo>
                  <a:pt x="2224126" y="562819"/>
                </a:moveTo>
                <a:cubicBezTo>
                  <a:pt x="2255430" y="562819"/>
                  <a:pt x="2274212" y="580065"/>
                  <a:pt x="2286734" y="608284"/>
                </a:cubicBezTo>
                <a:cubicBezTo>
                  <a:pt x="2296125" y="633368"/>
                  <a:pt x="2300820" y="675697"/>
                  <a:pt x="2300820" y="725865"/>
                </a:cubicBezTo>
                <a:lnTo>
                  <a:pt x="2142737" y="725865"/>
                </a:lnTo>
                <a:cubicBezTo>
                  <a:pt x="2144302" y="614555"/>
                  <a:pt x="2167780" y="562819"/>
                  <a:pt x="2224126" y="562819"/>
                </a:cubicBezTo>
                <a:close/>
                <a:moveTo>
                  <a:pt x="3041152" y="1109961"/>
                </a:moveTo>
                <a:lnTo>
                  <a:pt x="3163237" y="1109961"/>
                </a:lnTo>
                <a:lnTo>
                  <a:pt x="3163237" y="639639"/>
                </a:lnTo>
                <a:cubicBezTo>
                  <a:pt x="3192975" y="603581"/>
                  <a:pt x="3227409" y="583200"/>
                  <a:pt x="3252452" y="583200"/>
                </a:cubicBezTo>
                <a:cubicBezTo>
                  <a:pt x="3268104" y="583200"/>
                  <a:pt x="3283756" y="586335"/>
                  <a:pt x="3293147" y="598877"/>
                </a:cubicBezTo>
                <a:cubicBezTo>
                  <a:pt x="3302538" y="612987"/>
                  <a:pt x="3307233" y="633368"/>
                  <a:pt x="3307233" y="681968"/>
                </a:cubicBezTo>
                <a:lnTo>
                  <a:pt x="3307233" y="1109961"/>
                </a:lnTo>
                <a:lnTo>
                  <a:pt x="3429318" y="1109961"/>
                </a:lnTo>
                <a:lnTo>
                  <a:pt x="3429318" y="625529"/>
                </a:lnTo>
                <a:cubicBezTo>
                  <a:pt x="3429318" y="583200"/>
                  <a:pt x="3424622" y="540871"/>
                  <a:pt x="3399579" y="509516"/>
                </a:cubicBezTo>
                <a:cubicBezTo>
                  <a:pt x="3377667" y="481297"/>
                  <a:pt x="3343233" y="464052"/>
                  <a:pt x="3299408" y="464052"/>
                </a:cubicBezTo>
                <a:cubicBezTo>
                  <a:pt x="3243061" y="464052"/>
                  <a:pt x="3185149" y="496974"/>
                  <a:pt x="3153845" y="534600"/>
                </a:cubicBezTo>
                <a:cubicBezTo>
                  <a:pt x="3152280" y="501677"/>
                  <a:pt x="3141324" y="470323"/>
                  <a:pt x="3138194" y="459348"/>
                </a:cubicBezTo>
                <a:lnTo>
                  <a:pt x="3023935" y="489136"/>
                </a:lnTo>
                <a:cubicBezTo>
                  <a:pt x="3030196" y="523626"/>
                  <a:pt x="3039587" y="565955"/>
                  <a:pt x="3039587" y="642774"/>
                </a:cubicBezTo>
                <a:lnTo>
                  <a:pt x="3039587" y="1109961"/>
                </a:lnTo>
                <a:close/>
                <a:moveTo>
                  <a:pt x="1623096" y="534600"/>
                </a:moveTo>
                <a:cubicBezTo>
                  <a:pt x="1621530" y="501677"/>
                  <a:pt x="1610574" y="470323"/>
                  <a:pt x="1607444" y="459348"/>
                </a:cubicBezTo>
                <a:lnTo>
                  <a:pt x="1493185" y="489136"/>
                </a:lnTo>
                <a:cubicBezTo>
                  <a:pt x="1499446" y="523626"/>
                  <a:pt x="1508837" y="565955"/>
                  <a:pt x="1508837" y="642774"/>
                </a:cubicBezTo>
                <a:lnTo>
                  <a:pt x="1508837" y="1108394"/>
                </a:lnTo>
                <a:lnTo>
                  <a:pt x="1630922" y="1108394"/>
                </a:lnTo>
                <a:lnTo>
                  <a:pt x="1630922" y="638071"/>
                </a:lnTo>
                <a:cubicBezTo>
                  <a:pt x="1660660" y="602013"/>
                  <a:pt x="1695094" y="581632"/>
                  <a:pt x="1720137" y="581632"/>
                </a:cubicBezTo>
                <a:cubicBezTo>
                  <a:pt x="1735789" y="581632"/>
                  <a:pt x="1751441" y="584768"/>
                  <a:pt x="1760832" y="597310"/>
                </a:cubicBezTo>
                <a:cubicBezTo>
                  <a:pt x="1770223" y="611419"/>
                  <a:pt x="1774919" y="631800"/>
                  <a:pt x="1774919" y="680400"/>
                </a:cubicBezTo>
                <a:lnTo>
                  <a:pt x="1774919" y="1108394"/>
                </a:lnTo>
                <a:lnTo>
                  <a:pt x="1897003" y="1108394"/>
                </a:lnTo>
                <a:lnTo>
                  <a:pt x="1897003" y="625529"/>
                </a:lnTo>
                <a:cubicBezTo>
                  <a:pt x="1897003" y="583200"/>
                  <a:pt x="1892307" y="540871"/>
                  <a:pt x="1867264" y="509516"/>
                </a:cubicBezTo>
                <a:cubicBezTo>
                  <a:pt x="1845352" y="481297"/>
                  <a:pt x="1810918" y="464052"/>
                  <a:pt x="1767093" y="464052"/>
                </a:cubicBezTo>
                <a:cubicBezTo>
                  <a:pt x="1712311" y="464052"/>
                  <a:pt x="1654399" y="496974"/>
                  <a:pt x="1623096" y="534600"/>
                </a:cubicBezTo>
                <a:close/>
                <a:moveTo>
                  <a:pt x="129910" y="260245"/>
                </a:moveTo>
                <a:cubicBezTo>
                  <a:pt x="201909" y="260245"/>
                  <a:pt x="259820" y="202239"/>
                  <a:pt x="259820" y="130123"/>
                </a:cubicBezTo>
                <a:cubicBezTo>
                  <a:pt x="259820" y="58006"/>
                  <a:pt x="201909" y="0"/>
                  <a:pt x="129910" y="0"/>
                </a:cubicBezTo>
                <a:cubicBezTo>
                  <a:pt x="57912" y="0"/>
                  <a:pt x="0" y="58006"/>
                  <a:pt x="0" y="130123"/>
                </a:cubicBezTo>
                <a:cubicBezTo>
                  <a:pt x="0" y="202239"/>
                  <a:pt x="57912" y="260245"/>
                  <a:pt x="129910" y="260245"/>
                </a:cubicBezTo>
                <a:close/>
                <a:moveTo>
                  <a:pt x="729376" y="1109961"/>
                </a:moveTo>
                <a:lnTo>
                  <a:pt x="729376" y="625529"/>
                </a:lnTo>
                <a:cubicBezTo>
                  <a:pt x="729376" y="583200"/>
                  <a:pt x="724680" y="540871"/>
                  <a:pt x="699637" y="509516"/>
                </a:cubicBezTo>
                <a:cubicBezTo>
                  <a:pt x="677725" y="481297"/>
                  <a:pt x="643291" y="464052"/>
                  <a:pt x="599465" y="464052"/>
                </a:cubicBezTo>
                <a:cubicBezTo>
                  <a:pt x="543119" y="464052"/>
                  <a:pt x="485207" y="496974"/>
                  <a:pt x="453903" y="534600"/>
                </a:cubicBezTo>
                <a:cubicBezTo>
                  <a:pt x="452338" y="501677"/>
                  <a:pt x="441382" y="470323"/>
                  <a:pt x="438251" y="459348"/>
                </a:cubicBezTo>
                <a:lnTo>
                  <a:pt x="325558" y="490703"/>
                </a:lnTo>
                <a:cubicBezTo>
                  <a:pt x="331819" y="525194"/>
                  <a:pt x="341210" y="567523"/>
                  <a:pt x="341210" y="644342"/>
                </a:cubicBezTo>
                <a:lnTo>
                  <a:pt x="341210" y="1109961"/>
                </a:lnTo>
                <a:lnTo>
                  <a:pt x="463294" y="1109961"/>
                </a:lnTo>
                <a:lnTo>
                  <a:pt x="463294" y="639639"/>
                </a:lnTo>
                <a:cubicBezTo>
                  <a:pt x="493033" y="603581"/>
                  <a:pt x="527467" y="583200"/>
                  <a:pt x="552510" y="583200"/>
                </a:cubicBezTo>
                <a:cubicBezTo>
                  <a:pt x="568162" y="583200"/>
                  <a:pt x="583814" y="586335"/>
                  <a:pt x="593205" y="598877"/>
                </a:cubicBezTo>
                <a:cubicBezTo>
                  <a:pt x="602596" y="612987"/>
                  <a:pt x="607291" y="633368"/>
                  <a:pt x="607291" y="681968"/>
                </a:cubicBezTo>
                <a:lnTo>
                  <a:pt x="607291" y="1109961"/>
                </a:lnTo>
                <a:lnTo>
                  <a:pt x="729376" y="1109961"/>
                </a:lnTo>
                <a:close/>
                <a:moveTo>
                  <a:pt x="1291277" y="225755"/>
                </a:moveTo>
                <a:cubicBezTo>
                  <a:pt x="1245886" y="225755"/>
                  <a:pt x="1209887" y="261813"/>
                  <a:pt x="1209887" y="307277"/>
                </a:cubicBezTo>
                <a:cubicBezTo>
                  <a:pt x="1209887" y="352742"/>
                  <a:pt x="1245886" y="388800"/>
                  <a:pt x="1289712" y="388800"/>
                </a:cubicBezTo>
                <a:cubicBezTo>
                  <a:pt x="1335102" y="388800"/>
                  <a:pt x="1371101" y="352742"/>
                  <a:pt x="1371101" y="307277"/>
                </a:cubicBezTo>
                <a:cubicBezTo>
                  <a:pt x="1371101" y="261813"/>
                  <a:pt x="1335102" y="225755"/>
                  <a:pt x="1291277" y="225755"/>
                </a:cubicBezTo>
                <a:close/>
                <a:moveTo>
                  <a:pt x="71998" y="1109961"/>
                </a:moveTo>
                <a:lnTo>
                  <a:pt x="194083" y="1109961"/>
                </a:lnTo>
                <a:lnTo>
                  <a:pt x="194083" y="346471"/>
                </a:lnTo>
                <a:lnTo>
                  <a:pt x="71998" y="362148"/>
                </a:lnTo>
                <a:lnTo>
                  <a:pt x="71998" y="1109961"/>
                </a:lnTo>
                <a:close/>
                <a:moveTo>
                  <a:pt x="1069021" y="301006"/>
                </a:moveTo>
                <a:cubicBezTo>
                  <a:pt x="1090933" y="301006"/>
                  <a:pt x="1112846" y="308845"/>
                  <a:pt x="1126932" y="319819"/>
                </a:cubicBezTo>
                <a:lnTo>
                  <a:pt x="1161366" y="224187"/>
                </a:lnTo>
                <a:cubicBezTo>
                  <a:pt x="1128498" y="200671"/>
                  <a:pt x="1092498" y="189697"/>
                  <a:pt x="1047108" y="189697"/>
                </a:cubicBezTo>
                <a:cubicBezTo>
                  <a:pt x="1015804" y="189697"/>
                  <a:pt x="982935" y="197535"/>
                  <a:pt x="953197" y="221052"/>
                </a:cubicBezTo>
                <a:cubicBezTo>
                  <a:pt x="923458" y="246135"/>
                  <a:pt x="892155" y="296303"/>
                  <a:pt x="892155" y="390368"/>
                </a:cubicBezTo>
                <a:cubicBezTo>
                  <a:pt x="892155" y="431129"/>
                  <a:pt x="893720" y="473458"/>
                  <a:pt x="893720" y="473458"/>
                </a:cubicBezTo>
                <a:lnTo>
                  <a:pt x="851460" y="473458"/>
                </a:lnTo>
                <a:lnTo>
                  <a:pt x="851460" y="581632"/>
                </a:lnTo>
                <a:lnTo>
                  <a:pt x="893720" y="581632"/>
                </a:lnTo>
                <a:lnTo>
                  <a:pt x="893720" y="1108394"/>
                </a:lnTo>
                <a:lnTo>
                  <a:pt x="1018935" y="1108394"/>
                </a:lnTo>
                <a:lnTo>
                  <a:pt x="1018935" y="583200"/>
                </a:lnTo>
                <a:lnTo>
                  <a:pt x="1111281" y="583200"/>
                </a:lnTo>
                <a:lnTo>
                  <a:pt x="1134758" y="475026"/>
                </a:lnTo>
                <a:lnTo>
                  <a:pt x="1020500" y="475026"/>
                </a:lnTo>
                <a:lnTo>
                  <a:pt x="1020500" y="377826"/>
                </a:lnTo>
                <a:cubicBezTo>
                  <a:pt x="1020500" y="330794"/>
                  <a:pt x="1039282" y="301006"/>
                  <a:pt x="1069021" y="301006"/>
                </a:cubicBezTo>
                <a:close/>
                <a:moveTo>
                  <a:pt x="1228669" y="1109961"/>
                </a:moveTo>
                <a:lnTo>
                  <a:pt x="1352319" y="1109961"/>
                </a:lnTo>
                <a:lnTo>
                  <a:pt x="1352319" y="464052"/>
                </a:lnTo>
                <a:lnTo>
                  <a:pt x="1228669" y="479729"/>
                </a:lnTo>
                <a:lnTo>
                  <a:pt x="1228669" y="1109961"/>
                </a:lnTo>
                <a:close/>
              </a:path>
            </a:pathLst>
          </a:custGeom>
          <a:solidFill>
            <a:srgbClr val="005DA9"/>
          </a:solidFill>
          <a:ln w="156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F60EEAB-08EF-4699-AAD1-3E74796DF911}"/>
              </a:ext>
            </a:extLst>
          </p:cNvPr>
          <p:cNvSpPr/>
          <p:nvPr/>
        </p:nvSpPr>
        <p:spPr>
          <a:xfrm>
            <a:off x="3859415" y="1750829"/>
            <a:ext cx="4435730" cy="1944213"/>
          </a:xfrm>
          <a:custGeom>
            <a:avLst/>
            <a:gdLst>
              <a:gd name="connsiteX0" fmla="*/ 3764267 w 4435730"/>
              <a:gd name="connsiteY0" fmla="*/ 1637936 h 1944213"/>
              <a:gd name="connsiteX1" fmla="*/ 2357167 w 4435730"/>
              <a:gd name="connsiteY1" fmla="*/ 1813523 h 1944213"/>
              <a:gd name="connsiteX2" fmla="*/ 248864 w 4435730"/>
              <a:gd name="connsiteY2" fmla="*/ 962240 h 1944213"/>
              <a:gd name="connsiteX3" fmla="*/ 608857 w 4435730"/>
              <a:gd name="connsiteY3" fmla="*/ 452723 h 1944213"/>
              <a:gd name="connsiteX4" fmla="*/ 538423 w 4435730"/>
              <a:gd name="connsiteY4" fmla="*/ 314762 h 1944213"/>
              <a:gd name="connsiteX5" fmla="*/ 0 w 4435730"/>
              <a:gd name="connsiteY5" fmla="*/ 976349 h 1944213"/>
              <a:gd name="connsiteX6" fmla="*/ 2369688 w 4435730"/>
              <a:gd name="connsiteY6" fmla="*/ 1943646 h 1944213"/>
              <a:gd name="connsiteX7" fmla="*/ 3646878 w 4435730"/>
              <a:gd name="connsiteY7" fmla="*/ 1744543 h 1944213"/>
              <a:gd name="connsiteX8" fmla="*/ 4435731 w 4435730"/>
              <a:gd name="connsiteY8" fmla="*/ 1302440 h 1944213"/>
              <a:gd name="connsiteX9" fmla="*/ 3764267 w 4435730"/>
              <a:gd name="connsiteY9" fmla="*/ 1637936 h 1944213"/>
              <a:gd name="connsiteX10" fmla="*/ 1136323 w 4435730"/>
              <a:gd name="connsiteY10" fmla="*/ 214427 h 1944213"/>
              <a:gd name="connsiteX11" fmla="*/ 1336667 w 4435730"/>
              <a:gd name="connsiteY11" fmla="*/ 150149 h 1944213"/>
              <a:gd name="connsiteX12" fmla="*/ 2371254 w 4435730"/>
              <a:gd name="connsiteY12" fmla="*/ 9052 h 1944213"/>
              <a:gd name="connsiteX13" fmla="*/ 1311624 w 4435730"/>
              <a:gd name="connsiteY13" fmla="*/ 65491 h 1944213"/>
              <a:gd name="connsiteX14" fmla="*/ 1097194 w 4435730"/>
              <a:gd name="connsiteY14" fmla="*/ 110956 h 1944213"/>
              <a:gd name="connsiteX15" fmla="*/ 1011109 w 4435730"/>
              <a:gd name="connsiteY15" fmla="*/ 134472 h 1944213"/>
              <a:gd name="connsiteX16" fmla="*/ 932850 w 4435730"/>
              <a:gd name="connsiteY16" fmla="*/ 156420 h 1944213"/>
              <a:gd name="connsiteX17" fmla="*/ 838939 w 4435730"/>
              <a:gd name="connsiteY17" fmla="*/ 187775 h 1944213"/>
              <a:gd name="connsiteX18" fmla="*/ 890590 w 4435730"/>
              <a:gd name="connsiteY18" fmla="*/ 306923 h 1944213"/>
              <a:gd name="connsiteX19" fmla="*/ 1136323 w 4435730"/>
              <a:gd name="connsiteY19" fmla="*/ 214427 h 1944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35730" h="1944213">
                <a:moveTo>
                  <a:pt x="3764267" y="1637936"/>
                </a:moveTo>
                <a:cubicBezTo>
                  <a:pt x="3351059" y="1760220"/>
                  <a:pt x="2848635" y="1813523"/>
                  <a:pt x="2357167" y="1813523"/>
                </a:cubicBezTo>
                <a:cubicBezTo>
                  <a:pt x="1109715" y="1813523"/>
                  <a:pt x="305211" y="1446672"/>
                  <a:pt x="248864" y="962240"/>
                </a:cubicBezTo>
                <a:cubicBezTo>
                  <a:pt x="228517" y="780381"/>
                  <a:pt x="370949" y="603227"/>
                  <a:pt x="608857" y="452723"/>
                </a:cubicBezTo>
                <a:cubicBezTo>
                  <a:pt x="566597" y="421369"/>
                  <a:pt x="539988" y="371201"/>
                  <a:pt x="538423" y="314762"/>
                </a:cubicBezTo>
                <a:cubicBezTo>
                  <a:pt x="194083" y="496620"/>
                  <a:pt x="0" y="734917"/>
                  <a:pt x="0" y="976349"/>
                </a:cubicBezTo>
                <a:cubicBezTo>
                  <a:pt x="0" y="1510949"/>
                  <a:pt x="953197" y="1962459"/>
                  <a:pt x="2369688" y="1943646"/>
                </a:cubicBezTo>
                <a:cubicBezTo>
                  <a:pt x="2862721" y="1937375"/>
                  <a:pt x="3274365" y="1866827"/>
                  <a:pt x="3646878" y="1744543"/>
                </a:cubicBezTo>
                <a:cubicBezTo>
                  <a:pt x="4089825" y="1600311"/>
                  <a:pt x="4368428" y="1393369"/>
                  <a:pt x="4435731" y="1302440"/>
                </a:cubicBezTo>
                <a:cubicBezTo>
                  <a:pt x="4355907" y="1374556"/>
                  <a:pt x="4166520" y="1518788"/>
                  <a:pt x="3764267" y="1637936"/>
                </a:cubicBezTo>
                <a:close/>
                <a:moveTo>
                  <a:pt x="1136323" y="214427"/>
                </a:moveTo>
                <a:cubicBezTo>
                  <a:pt x="1219278" y="186207"/>
                  <a:pt x="1336667" y="150149"/>
                  <a:pt x="1336667" y="150149"/>
                </a:cubicBezTo>
                <a:cubicBezTo>
                  <a:pt x="1666921" y="59220"/>
                  <a:pt x="2031609" y="5917"/>
                  <a:pt x="2371254" y="9052"/>
                </a:cubicBezTo>
                <a:cubicBezTo>
                  <a:pt x="1979958" y="-14464"/>
                  <a:pt x="1623096" y="9052"/>
                  <a:pt x="1311624" y="65491"/>
                </a:cubicBezTo>
                <a:cubicBezTo>
                  <a:pt x="1311624" y="65491"/>
                  <a:pt x="1208322" y="82736"/>
                  <a:pt x="1097194" y="110956"/>
                </a:cubicBezTo>
                <a:cubicBezTo>
                  <a:pt x="1097194" y="110956"/>
                  <a:pt x="1043978" y="125065"/>
                  <a:pt x="1011109" y="134472"/>
                </a:cubicBezTo>
                <a:cubicBezTo>
                  <a:pt x="978240" y="143878"/>
                  <a:pt x="932850" y="156420"/>
                  <a:pt x="932850" y="156420"/>
                </a:cubicBezTo>
                <a:cubicBezTo>
                  <a:pt x="901546" y="165827"/>
                  <a:pt x="870242" y="176801"/>
                  <a:pt x="838939" y="187775"/>
                </a:cubicBezTo>
                <a:cubicBezTo>
                  <a:pt x="870242" y="219130"/>
                  <a:pt x="889024" y="259891"/>
                  <a:pt x="890590" y="306923"/>
                </a:cubicBezTo>
                <a:cubicBezTo>
                  <a:pt x="945371" y="281840"/>
                  <a:pt x="1050238" y="244214"/>
                  <a:pt x="1136323" y="214427"/>
                </a:cubicBezTo>
                <a:close/>
              </a:path>
            </a:pathLst>
          </a:custGeom>
          <a:solidFill>
            <a:srgbClr val="E30034"/>
          </a:solidFill>
          <a:ln w="156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IFX_PresentationTitle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015D233-C9CC-4F11-A8E7-A76873C0D17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1"/>
            <a:ext cx="12193200" cy="5138663"/>
          </a:xfrm>
          <a:custGeom>
            <a:avLst/>
            <a:gdLst>
              <a:gd name="connsiteX0" fmla="*/ 0 w 12193200"/>
              <a:gd name="connsiteY0" fmla="*/ 3366965 h 5138663"/>
              <a:gd name="connsiteX1" fmla="*/ 2568673 w 12193200"/>
              <a:gd name="connsiteY1" fmla="*/ 4457302 h 5138663"/>
              <a:gd name="connsiteX2" fmla="*/ 2562846 w 12193200"/>
              <a:gd name="connsiteY2" fmla="*/ 4486161 h 5138663"/>
              <a:gd name="connsiteX3" fmla="*/ 2638446 w 12193200"/>
              <a:gd name="connsiteY3" fmla="*/ 4561761 h 5138663"/>
              <a:gd name="connsiteX4" fmla="*/ 2647610 w 12193200"/>
              <a:gd name="connsiteY4" fmla="*/ 4559911 h 5138663"/>
              <a:gd name="connsiteX5" fmla="*/ 2719581 w 12193200"/>
              <a:gd name="connsiteY5" fmla="*/ 5014319 h 5138663"/>
              <a:gd name="connsiteX6" fmla="*/ 0 w 12193200"/>
              <a:gd name="connsiteY6" fmla="*/ 5138663 h 5138663"/>
              <a:gd name="connsiteX7" fmla="*/ 9696955 w 12193200"/>
              <a:gd name="connsiteY7" fmla="*/ 2861324 h 5138663"/>
              <a:gd name="connsiteX8" fmla="*/ 8393835 w 12193200"/>
              <a:gd name="connsiteY8" fmla="*/ 4754883 h 5138663"/>
              <a:gd name="connsiteX9" fmla="*/ 2732347 w 12193200"/>
              <a:gd name="connsiteY9" fmla="*/ 5013736 h 5138663"/>
              <a:gd name="connsiteX10" fmla="*/ 2660069 w 12193200"/>
              <a:gd name="connsiteY10" fmla="*/ 4557396 h 5138663"/>
              <a:gd name="connsiteX11" fmla="*/ 2667873 w 12193200"/>
              <a:gd name="connsiteY11" fmla="*/ 4555820 h 5138663"/>
              <a:gd name="connsiteX12" fmla="*/ 2714046 w 12193200"/>
              <a:gd name="connsiteY12" fmla="*/ 4486161 h 5138663"/>
              <a:gd name="connsiteX13" fmla="*/ 2711595 w 12193200"/>
              <a:gd name="connsiteY13" fmla="*/ 4474021 h 5138663"/>
              <a:gd name="connsiteX14" fmla="*/ 12193200 w 12193200"/>
              <a:gd name="connsiteY14" fmla="*/ 2285021 h 5138663"/>
              <a:gd name="connsiteX15" fmla="*/ 12193200 w 12193200"/>
              <a:gd name="connsiteY15" fmla="*/ 4581170 h 5138663"/>
              <a:gd name="connsiteX16" fmla="*/ 8409753 w 12193200"/>
              <a:gd name="connsiteY16" fmla="*/ 4754155 h 5138663"/>
              <a:gd name="connsiteX17" fmla="*/ 9715284 w 12193200"/>
              <a:gd name="connsiteY17" fmla="*/ 2857093 h 5138663"/>
              <a:gd name="connsiteX18" fmla="*/ 11681495 w 12193200"/>
              <a:gd name="connsiteY18" fmla="*/ 0 h 5138663"/>
              <a:gd name="connsiteX19" fmla="*/ 12193200 w 12193200"/>
              <a:gd name="connsiteY19" fmla="*/ 0 h 5138663"/>
              <a:gd name="connsiteX20" fmla="*/ 12193200 w 12193200"/>
              <a:gd name="connsiteY20" fmla="*/ 2271987 h 5138663"/>
              <a:gd name="connsiteX21" fmla="*/ 9725948 w 12193200"/>
              <a:gd name="connsiteY21" fmla="*/ 2841597 h 5138663"/>
              <a:gd name="connsiteX22" fmla="*/ 0 w 12193200"/>
              <a:gd name="connsiteY22" fmla="*/ 0 h 5138663"/>
              <a:gd name="connsiteX23" fmla="*/ 11666079 w 12193200"/>
              <a:gd name="connsiteY23" fmla="*/ 0 h 5138663"/>
              <a:gd name="connsiteX24" fmla="*/ 9707619 w 12193200"/>
              <a:gd name="connsiteY24" fmla="*/ 2845829 h 5138663"/>
              <a:gd name="connsiteX25" fmla="*/ 2709081 w 12193200"/>
              <a:gd name="connsiteY25" fmla="*/ 4461568 h 5138663"/>
              <a:gd name="connsiteX26" fmla="*/ 2708105 w 12193200"/>
              <a:gd name="connsiteY26" fmla="*/ 4456734 h 5138663"/>
              <a:gd name="connsiteX27" fmla="*/ 2638446 w 12193200"/>
              <a:gd name="connsiteY27" fmla="*/ 4410561 h 5138663"/>
              <a:gd name="connsiteX28" fmla="*/ 2584989 w 12193200"/>
              <a:gd name="connsiteY28" fmla="*/ 4432704 h 5138663"/>
              <a:gd name="connsiteX29" fmla="*/ 2575696 w 12193200"/>
              <a:gd name="connsiteY29" fmla="*/ 4446487 h 5138663"/>
              <a:gd name="connsiteX30" fmla="*/ 0 w 12193200"/>
              <a:gd name="connsiteY30" fmla="*/ 3353169 h 5138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3200" h="5138663">
                <a:moveTo>
                  <a:pt x="0" y="3366965"/>
                </a:moveTo>
                <a:lnTo>
                  <a:pt x="2568673" y="4457302"/>
                </a:lnTo>
                <a:lnTo>
                  <a:pt x="2562846" y="4486161"/>
                </a:lnTo>
                <a:cubicBezTo>
                  <a:pt x="2562846" y="4527914"/>
                  <a:pt x="2596693" y="4561761"/>
                  <a:pt x="2638446" y="4561761"/>
                </a:cubicBezTo>
                <a:lnTo>
                  <a:pt x="2647610" y="4559911"/>
                </a:lnTo>
                <a:lnTo>
                  <a:pt x="2719581" y="5014319"/>
                </a:lnTo>
                <a:lnTo>
                  <a:pt x="0" y="5138663"/>
                </a:lnTo>
                <a:close/>
                <a:moveTo>
                  <a:pt x="9696955" y="2861324"/>
                </a:moveTo>
                <a:lnTo>
                  <a:pt x="8393835" y="4754883"/>
                </a:lnTo>
                <a:lnTo>
                  <a:pt x="2732347" y="5013736"/>
                </a:lnTo>
                <a:lnTo>
                  <a:pt x="2660069" y="4557396"/>
                </a:lnTo>
                <a:lnTo>
                  <a:pt x="2667873" y="4555820"/>
                </a:lnTo>
                <a:cubicBezTo>
                  <a:pt x="2695007" y="4544344"/>
                  <a:pt x="2714046" y="4517476"/>
                  <a:pt x="2714046" y="4486161"/>
                </a:cubicBezTo>
                <a:lnTo>
                  <a:pt x="2711595" y="4474021"/>
                </a:lnTo>
                <a:close/>
                <a:moveTo>
                  <a:pt x="12193200" y="2285021"/>
                </a:moveTo>
                <a:lnTo>
                  <a:pt x="12193200" y="4581170"/>
                </a:lnTo>
                <a:lnTo>
                  <a:pt x="8409753" y="4754155"/>
                </a:lnTo>
                <a:lnTo>
                  <a:pt x="9715284" y="2857093"/>
                </a:lnTo>
                <a:close/>
                <a:moveTo>
                  <a:pt x="11681495" y="0"/>
                </a:moveTo>
                <a:lnTo>
                  <a:pt x="12193200" y="0"/>
                </a:lnTo>
                <a:lnTo>
                  <a:pt x="12193200" y="2271987"/>
                </a:lnTo>
                <a:lnTo>
                  <a:pt x="9725948" y="2841597"/>
                </a:lnTo>
                <a:close/>
                <a:moveTo>
                  <a:pt x="0" y="0"/>
                </a:moveTo>
                <a:lnTo>
                  <a:pt x="11666079" y="0"/>
                </a:lnTo>
                <a:lnTo>
                  <a:pt x="9707619" y="2845829"/>
                </a:lnTo>
                <a:lnTo>
                  <a:pt x="2709081" y="4461568"/>
                </a:lnTo>
                <a:lnTo>
                  <a:pt x="2708105" y="4456734"/>
                </a:lnTo>
                <a:cubicBezTo>
                  <a:pt x="2696629" y="4429600"/>
                  <a:pt x="2669761" y="4410561"/>
                  <a:pt x="2638446" y="4410561"/>
                </a:cubicBezTo>
                <a:cubicBezTo>
                  <a:pt x="2617570" y="4410561"/>
                  <a:pt x="2598670" y="4419023"/>
                  <a:pt x="2584989" y="4432704"/>
                </a:cubicBezTo>
                <a:lnTo>
                  <a:pt x="2575696" y="4446487"/>
                </a:lnTo>
                <a:lnTo>
                  <a:pt x="0" y="3353169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 wrap="square" tIns="0" bIns="82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8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417" y="1240539"/>
            <a:ext cx="8280000" cy="6477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ADDB2795-DB3B-40A3-B89C-858C63FC06F1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0E8F659-6D17-4A54-BF14-8E3536EAD1C1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383B5BA-723A-4405-A758-172E5648B93E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IFX_PresentationTitle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AFE04B5B-4266-446C-AFD4-7F662DB99088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78FA743-D255-4464-8B0A-0C6C3C86AF6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620" y="1"/>
            <a:ext cx="12192000" cy="3914479"/>
          </a:xfrm>
          <a:custGeom>
            <a:avLst/>
            <a:gdLst>
              <a:gd name="connsiteX0" fmla="*/ 0 w 12192000"/>
              <a:gd name="connsiteY0" fmla="*/ 754254 h 3914479"/>
              <a:gd name="connsiteX1" fmla="*/ 3718844 w 12192000"/>
              <a:gd name="connsiteY1" fmla="*/ 1409987 h 3914479"/>
              <a:gd name="connsiteX2" fmla="*/ 3717075 w 12192000"/>
              <a:gd name="connsiteY2" fmla="*/ 1418748 h 3914479"/>
              <a:gd name="connsiteX3" fmla="*/ 3792675 w 12192000"/>
              <a:gd name="connsiteY3" fmla="*/ 1494348 h 3914479"/>
              <a:gd name="connsiteX4" fmla="*/ 3822102 w 12192000"/>
              <a:gd name="connsiteY4" fmla="*/ 1488407 h 3914479"/>
              <a:gd name="connsiteX5" fmla="*/ 3827476 w 12192000"/>
              <a:gd name="connsiteY5" fmla="*/ 1484784 h 3914479"/>
              <a:gd name="connsiteX6" fmla="*/ 4940342 w 12192000"/>
              <a:gd name="connsiteY6" fmla="*/ 3668903 h 3914479"/>
              <a:gd name="connsiteX7" fmla="*/ 1040095 w 12192000"/>
              <a:gd name="connsiteY7" fmla="*/ 3866924 h 3914479"/>
              <a:gd name="connsiteX8" fmla="*/ 0 w 12192000"/>
              <a:gd name="connsiteY8" fmla="*/ 3914479 h 3914479"/>
              <a:gd name="connsiteX9" fmla="*/ 8538152 w 12192000"/>
              <a:gd name="connsiteY9" fmla="*/ 0 h 3914479"/>
              <a:gd name="connsiteX10" fmla="*/ 12192000 w 12192000"/>
              <a:gd name="connsiteY10" fmla="*/ 0 h 3914479"/>
              <a:gd name="connsiteX11" fmla="*/ 12192000 w 12192000"/>
              <a:gd name="connsiteY11" fmla="*/ 1782101 h 3914479"/>
              <a:gd name="connsiteX12" fmla="*/ 4684292 w 12192000"/>
              <a:gd name="connsiteY12" fmla="*/ 0 h 3914479"/>
              <a:gd name="connsiteX13" fmla="*/ 8509181 w 12192000"/>
              <a:gd name="connsiteY13" fmla="*/ 0 h 3914479"/>
              <a:gd name="connsiteX14" fmla="*/ 12192000 w 12192000"/>
              <a:gd name="connsiteY14" fmla="*/ 1796231 h 3914479"/>
              <a:gd name="connsiteX15" fmla="*/ 12192000 w 12192000"/>
              <a:gd name="connsiteY15" fmla="*/ 3300727 h 3914479"/>
              <a:gd name="connsiteX16" fmla="*/ 4954235 w 12192000"/>
              <a:gd name="connsiteY16" fmla="*/ 3668198 h 3914479"/>
              <a:gd name="connsiteX17" fmla="*/ 3838086 w 12192000"/>
              <a:gd name="connsiteY17" fmla="*/ 1477631 h 3914479"/>
              <a:gd name="connsiteX18" fmla="*/ 3846133 w 12192000"/>
              <a:gd name="connsiteY18" fmla="*/ 1472206 h 3914479"/>
              <a:gd name="connsiteX19" fmla="*/ 3868275 w 12192000"/>
              <a:gd name="connsiteY19" fmla="*/ 1418748 h 3914479"/>
              <a:gd name="connsiteX20" fmla="*/ 3846133 w 12192000"/>
              <a:gd name="connsiteY20" fmla="*/ 1365291 h 3914479"/>
              <a:gd name="connsiteX21" fmla="*/ 3835600 w 12192000"/>
              <a:gd name="connsiteY21" fmla="*/ 1358189 h 3914479"/>
              <a:gd name="connsiteX22" fmla="*/ 0 w 12192000"/>
              <a:gd name="connsiteY22" fmla="*/ 0 h 3914479"/>
              <a:gd name="connsiteX23" fmla="*/ 4669316 w 12192000"/>
              <a:gd name="connsiteY23" fmla="*/ 0 h 3914479"/>
              <a:gd name="connsiteX24" fmla="*/ 3825063 w 12192000"/>
              <a:gd name="connsiteY24" fmla="*/ 1351086 h 3914479"/>
              <a:gd name="connsiteX25" fmla="*/ 3822102 w 12192000"/>
              <a:gd name="connsiteY25" fmla="*/ 1349089 h 3914479"/>
              <a:gd name="connsiteX26" fmla="*/ 3792675 w 12192000"/>
              <a:gd name="connsiteY26" fmla="*/ 1343148 h 3914479"/>
              <a:gd name="connsiteX27" fmla="*/ 3723016 w 12192000"/>
              <a:gd name="connsiteY27" fmla="*/ 1389321 h 3914479"/>
              <a:gd name="connsiteX28" fmla="*/ 3721358 w 12192000"/>
              <a:gd name="connsiteY28" fmla="*/ 1397534 h 3914479"/>
              <a:gd name="connsiteX29" fmla="*/ 0 w 12192000"/>
              <a:gd name="connsiteY29" fmla="*/ 741358 h 3914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2192000" h="3914479">
                <a:moveTo>
                  <a:pt x="0" y="754254"/>
                </a:moveTo>
                <a:lnTo>
                  <a:pt x="3718844" y="1409987"/>
                </a:lnTo>
                <a:lnTo>
                  <a:pt x="3717075" y="1418748"/>
                </a:lnTo>
                <a:cubicBezTo>
                  <a:pt x="3717075" y="1460501"/>
                  <a:pt x="3750922" y="1494348"/>
                  <a:pt x="3792675" y="1494348"/>
                </a:cubicBezTo>
                <a:cubicBezTo>
                  <a:pt x="3803114" y="1494348"/>
                  <a:pt x="3813058" y="1492233"/>
                  <a:pt x="3822102" y="1488407"/>
                </a:cubicBezTo>
                <a:lnTo>
                  <a:pt x="3827476" y="1484784"/>
                </a:lnTo>
                <a:lnTo>
                  <a:pt x="4940342" y="3668903"/>
                </a:lnTo>
                <a:lnTo>
                  <a:pt x="1040095" y="3866924"/>
                </a:lnTo>
                <a:lnTo>
                  <a:pt x="0" y="3914479"/>
                </a:lnTo>
                <a:close/>
                <a:moveTo>
                  <a:pt x="8538152" y="0"/>
                </a:moveTo>
                <a:lnTo>
                  <a:pt x="12192000" y="0"/>
                </a:lnTo>
                <a:lnTo>
                  <a:pt x="12192000" y="1782101"/>
                </a:lnTo>
                <a:close/>
                <a:moveTo>
                  <a:pt x="4684292" y="0"/>
                </a:moveTo>
                <a:lnTo>
                  <a:pt x="8509181" y="0"/>
                </a:lnTo>
                <a:lnTo>
                  <a:pt x="12192000" y="1796231"/>
                </a:lnTo>
                <a:lnTo>
                  <a:pt x="12192000" y="3300727"/>
                </a:lnTo>
                <a:lnTo>
                  <a:pt x="4954235" y="3668198"/>
                </a:lnTo>
                <a:lnTo>
                  <a:pt x="3838086" y="1477631"/>
                </a:lnTo>
                <a:lnTo>
                  <a:pt x="3846133" y="1472206"/>
                </a:lnTo>
                <a:cubicBezTo>
                  <a:pt x="3859814" y="1458525"/>
                  <a:pt x="3868275" y="1439625"/>
                  <a:pt x="3868275" y="1418748"/>
                </a:cubicBezTo>
                <a:cubicBezTo>
                  <a:pt x="3868275" y="1397872"/>
                  <a:pt x="3859814" y="1378972"/>
                  <a:pt x="3846133" y="1365291"/>
                </a:cubicBezTo>
                <a:lnTo>
                  <a:pt x="3835600" y="1358189"/>
                </a:lnTo>
                <a:close/>
                <a:moveTo>
                  <a:pt x="0" y="0"/>
                </a:moveTo>
                <a:lnTo>
                  <a:pt x="4669316" y="0"/>
                </a:lnTo>
                <a:lnTo>
                  <a:pt x="3825063" y="1351086"/>
                </a:lnTo>
                <a:lnTo>
                  <a:pt x="3822102" y="1349089"/>
                </a:lnTo>
                <a:cubicBezTo>
                  <a:pt x="3813058" y="1345264"/>
                  <a:pt x="3803114" y="1343148"/>
                  <a:pt x="3792675" y="1343148"/>
                </a:cubicBezTo>
                <a:cubicBezTo>
                  <a:pt x="3761361" y="1343148"/>
                  <a:pt x="3734493" y="1362187"/>
                  <a:pt x="3723016" y="1389321"/>
                </a:cubicBezTo>
                <a:lnTo>
                  <a:pt x="3721358" y="1397534"/>
                </a:lnTo>
                <a:lnTo>
                  <a:pt x="0" y="741358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 wrap="square" bIns="82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001" y="4619032"/>
            <a:ext cx="10836000" cy="6480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8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7D4C4BA3-EB41-4D16-AC7A-1D39D9C25FCF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F453EFB-4C66-424D-935B-1B2057CC2B64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26861E4-4C53-40F8-8225-0CFFDC5696CD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FX_PresentationTitle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1AFC5FC0-8899-46D7-81F3-E691DED69C5B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Background White">
            <a:extLst>
              <a:ext uri="{FF2B5EF4-FFF2-40B4-BE49-F238E27FC236}">
                <a16:creationId xmlns:a16="http://schemas.microsoft.com/office/drawing/2014/main" id="{11199FE4-A164-44CF-AA03-877B11877F50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FAA4B13D-C5E4-4396-AE89-5B44F620D20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850960" y="0"/>
            <a:ext cx="4344215" cy="3439727"/>
          </a:xfrm>
          <a:custGeom>
            <a:avLst/>
            <a:gdLst>
              <a:gd name="connsiteX0" fmla="*/ 575284 w 4344215"/>
              <a:gd name="connsiteY0" fmla="*/ 0 h 3439727"/>
              <a:gd name="connsiteX1" fmla="*/ 4344215 w 4344215"/>
              <a:gd name="connsiteY1" fmla="*/ 0 h 3439727"/>
              <a:gd name="connsiteX2" fmla="*/ 4344215 w 4344215"/>
              <a:gd name="connsiteY2" fmla="*/ 3291560 h 3439727"/>
              <a:gd name="connsiteX3" fmla="*/ 1425892 w 4344215"/>
              <a:gd name="connsiteY3" fmla="*/ 3439727 h 3439727"/>
              <a:gd name="connsiteX4" fmla="*/ 30731 w 4344215"/>
              <a:gd name="connsiteY4" fmla="*/ 1890244 h 3439727"/>
              <a:gd name="connsiteX5" fmla="*/ 44102 w 4344215"/>
              <a:gd name="connsiteY5" fmla="*/ 1870411 h 3439727"/>
              <a:gd name="connsiteX6" fmla="*/ 50043 w 4344215"/>
              <a:gd name="connsiteY6" fmla="*/ 1840984 h 3439727"/>
              <a:gd name="connsiteX7" fmla="*/ 3870 w 4344215"/>
              <a:gd name="connsiteY7" fmla="*/ 1771325 h 3439727"/>
              <a:gd name="connsiteX8" fmla="*/ 0 w 4344215"/>
              <a:gd name="connsiteY8" fmla="*/ 1770544 h 3439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44215" h="3439727">
                <a:moveTo>
                  <a:pt x="575284" y="0"/>
                </a:moveTo>
                <a:lnTo>
                  <a:pt x="4344215" y="0"/>
                </a:lnTo>
                <a:lnTo>
                  <a:pt x="4344215" y="3291560"/>
                </a:lnTo>
                <a:lnTo>
                  <a:pt x="1425892" y="3439727"/>
                </a:lnTo>
                <a:lnTo>
                  <a:pt x="30731" y="1890244"/>
                </a:lnTo>
                <a:lnTo>
                  <a:pt x="44102" y="1870411"/>
                </a:lnTo>
                <a:cubicBezTo>
                  <a:pt x="47928" y="1861366"/>
                  <a:pt x="50043" y="1851422"/>
                  <a:pt x="50043" y="1840984"/>
                </a:cubicBezTo>
                <a:cubicBezTo>
                  <a:pt x="50043" y="1809669"/>
                  <a:pt x="31004" y="1782802"/>
                  <a:pt x="3870" y="1771325"/>
                </a:cubicBezTo>
                <a:lnTo>
                  <a:pt x="0" y="1770544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0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D7FAA3EB-4EA2-4D79-807B-405B94E041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624894" y="1"/>
            <a:ext cx="5635624" cy="3690265"/>
          </a:xfrm>
          <a:custGeom>
            <a:avLst/>
            <a:gdLst>
              <a:gd name="connsiteX0" fmla="*/ 4142496 w 5635624"/>
              <a:gd name="connsiteY0" fmla="*/ 1887683 h 3690265"/>
              <a:gd name="connsiteX1" fmla="*/ 4147052 w 5635624"/>
              <a:gd name="connsiteY1" fmla="*/ 1894440 h 3690265"/>
              <a:gd name="connsiteX2" fmla="*/ 4200509 w 5635624"/>
              <a:gd name="connsiteY2" fmla="*/ 1916583 h 3690265"/>
              <a:gd name="connsiteX3" fmla="*/ 4229936 w 5635624"/>
              <a:gd name="connsiteY3" fmla="*/ 1910642 h 3690265"/>
              <a:gd name="connsiteX4" fmla="*/ 4232083 w 5635624"/>
              <a:gd name="connsiteY4" fmla="*/ 1909195 h 3690265"/>
              <a:gd name="connsiteX5" fmla="*/ 4247451 w 5635624"/>
              <a:gd name="connsiteY5" fmla="*/ 1898834 h 3690265"/>
              <a:gd name="connsiteX6" fmla="*/ 5635624 w 5635624"/>
              <a:gd name="connsiteY6" fmla="*/ 3440556 h 3690265"/>
              <a:gd name="connsiteX7" fmla="*/ 1825021 w 5635624"/>
              <a:gd name="connsiteY7" fmla="*/ 3634026 h 3690265"/>
              <a:gd name="connsiteX8" fmla="*/ 0 w 5635624"/>
              <a:gd name="connsiteY8" fmla="*/ 0 h 3690265"/>
              <a:gd name="connsiteX9" fmla="*/ 4787988 w 5635624"/>
              <a:gd name="connsiteY9" fmla="*/ 0 h 3690265"/>
              <a:gd name="connsiteX10" fmla="*/ 4213526 w 5635624"/>
              <a:gd name="connsiteY10" fmla="*/ 1768011 h 3690265"/>
              <a:gd name="connsiteX11" fmla="*/ 4200509 w 5635624"/>
              <a:gd name="connsiteY11" fmla="*/ 1765383 h 3690265"/>
              <a:gd name="connsiteX12" fmla="*/ 4124909 w 5635624"/>
              <a:gd name="connsiteY12" fmla="*/ 1840983 h 3690265"/>
              <a:gd name="connsiteX13" fmla="*/ 4130850 w 5635624"/>
              <a:gd name="connsiteY13" fmla="*/ 1870410 h 3690265"/>
              <a:gd name="connsiteX14" fmla="*/ 4135387 w 5635624"/>
              <a:gd name="connsiteY14" fmla="*/ 1877139 h 3690265"/>
              <a:gd name="connsiteX15" fmla="*/ 1802395 w 5635624"/>
              <a:gd name="connsiteY15" fmla="*/ 3635174 h 3690265"/>
              <a:gd name="connsiteX16" fmla="*/ 717315 w 5635624"/>
              <a:gd name="connsiteY16" fmla="*/ 3690265 h 3690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635624" h="3690265">
                <a:moveTo>
                  <a:pt x="4142496" y="1887683"/>
                </a:moveTo>
                <a:lnTo>
                  <a:pt x="4147052" y="1894440"/>
                </a:lnTo>
                <a:cubicBezTo>
                  <a:pt x="4160733" y="1908121"/>
                  <a:pt x="4179633" y="1916583"/>
                  <a:pt x="4200509" y="1916583"/>
                </a:cubicBezTo>
                <a:cubicBezTo>
                  <a:pt x="4210947" y="1916583"/>
                  <a:pt x="4220892" y="1914468"/>
                  <a:pt x="4229936" y="1910642"/>
                </a:cubicBezTo>
                <a:lnTo>
                  <a:pt x="4232083" y="1909195"/>
                </a:lnTo>
                <a:lnTo>
                  <a:pt x="4247451" y="1898834"/>
                </a:lnTo>
                <a:lnTo>
                  <a:pt x="5635624" y="3440556"/>
                </a:lnTo>
                <a:lnTo>
                  <a:pt x="1825021" y="3634026"/>
                </a:lnTo>
                <a:close/>
                <a:moveTo>
                  <a:pt x="0" y="0"/>
                </a:moveTo>
                <a:lnTo>
                  <a:pt x="4787988" y="0"/>
                </a:lnTo>
                <a:lnTo>
                  <a:pt x="4213526" y="1768011"/>
                </a:lnTo>
                <a:lnTo>
                  <a:pt x="4200509" y="1765383"/>
                </a:lnTo>
                <a:cubicBezTo>
                  <a:pt x="4158756" y="1765383"/>
                  <a:pt x="4124909" y="1799230"/>
                  <a:pt x="4124909" y="1840983"/>
                </a:cubicBezTo>
                <a:cubicBezTo>
                  <a:pt x="4124909" y="1851421"/>
                  <a:pt x="4127025" y="1861365"/>
                  <a:pt x="4130850" y="1870410"/>
                </a:cubicBezTo>
                <a:lnTo>
                  <a:pt x="4135387" y="1877139"/>
                </a:lnTo>
                <a:lnTo>
                  <a:pt x="1802395" y="3635174"/>
                </a:lnTo>
                <a:lnTo>
                  <a:pt x="717315" y="369026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0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31EEC104-B33B-4D08-B54C-1059153CA59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" y="0"/>
            <a:ext cx="4331116" cy="3910485"/>
          </a:xfrm>
          <a:custGeom>
            <a:avLst/>
            <a:gdLst>
              <a:gd name="connsiteX0" fmla="*/ 0 w 4331116"/>
              <a:gd name="connsiteY0" fmla="*/ 0 h 3910485"/>
              <a:gd name="connsiteX1" fmla="*/ 3613691 w 4331116"/>
              <a:gd name="connsiteY1" fmla="*/ 0 h 3910485"/>
              <a:gd name="connsiteX2" fmla="*/ 4331116 w 4331116"/>
              <a:gd name="connsiteY2" fmla="*/ 3690829 h 3910485"/>
              <a:gd name="connsiteX3" fmla="*/ 4726 w 4331116"/>
              <a:gd name="connsiteY3" fmla="*/ 3910485 h 3910485"/>
              <a:gd name="connsiteX4" fmla="*/ 0 w 4331116"/>
              <a:gd name="connsiteY4" fmla="*/ 3910485 h 3910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1116" h="3910485">
                <a:moveTo>
                  <a:pt x="0" y="0"/>
                </a:moveTo>
                <a:lnTo>
                  <a:pt x="3613691" y="0"/>
                </a:lnTo>
                <a:lnTo>
                  <a:pt x="4331116" y="3690829"/>
                </a:lnTo>
                <a:lnTo>
                  <a:pt x="4726" y="3910485"/>
                </a:lnTo>
                <a:lnTo>
                  <a:pt x="0" y="391048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0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9" name="Title">
            <a:extLst>
              <a:ext uri="{FF2B5EF4-FFF2-40B4-BE49-F238E27FC236}">
                <a16:creationId xmlns:a16="http://schemas.microsoft.com/office/drawing/2014/main" id="{6C91DFA2-3F65-4B14-A4D0-4B6032B03E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001" y="4618800"/>
            <a:ext cx="10836000" cy="6480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5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8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7" name="empower_classification_attention_placeholder" hidden="1">
            <a:extLst>
              <a:ext uri="{FF2B5EF4-FFF2-40B4-BE49-F238E27FC236}">
                <a16:creationId xmlns:a16="http://schemas.microsoft.com/office/drawing/2014/main" id="{BFD2749C-34D6-4E79-BBA4-4241F8134AE4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empower_classification_placeholder">
            <a:extLst>
              <a:ext uri="{FF2B5EF4-FFF2-40B4-BE49-F238E27FC236}">
                <a16:creationId xmlns:a16="http://schemas.microsoft.com/office/drawing/2014/main" id="{907AF50E-1583-452E-8849-A76F308B3479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document_placeholder" hidden="1">
            <a:extLst>
              <a:ext uri="{FF2B5EF4-FFF2-40B4-BE49-F238E27FC236}">
                <a16:creationId xmlns:a16="http://schemas.microsoft.com/office/drawing/2014/main" id="{381C3FE7-5D2D-4422-B17C-1335687645D8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21" name="empower_draft_placeholder" hidden="1">
            <a:extLst>
              <a:ext uri="{FF2B5EF4-FFF2-40B4-BE49-F238E27FC236}">
                <a16:creationId xmlns:a16="http://schemas.microsoft.com/office/drawing/2014/main" id="{28047F79-0D17-499E-93DF-8D4A0F6C0EB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D2E933FD-444A-48FB-B09D-535A3E31856D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F0F64E4-3ECD-4DA7-9071-88422566879B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A824C84-95A2-4E55-BBD1-9A8DDECAB2F7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1" name="MIO_AGENDA_IGNORE_NAVIGATION" hidden="1">
            <a:extLst>
              <a:ext uri="{FF2B5EF4-FFF2-40B4-BE49-F238E27FC236}">
                <a16:creationId xmlns:a16="http://schemas.microsoft.com/office/drawing/2014/main" id="{73923FBC-8302-46A2-AAEF-9F2F1FFC31B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B9EE8F10-F396-4FB2-BAE1-D8AE2940E4D3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ADFF1ACC-A53B-464A-B036-465BC7BE3CE9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E4665AA8-8CF0-4329-862C-7F59DB27D4F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0DE7C452-06CA-4B5F-B462-4F463B2E49BF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53641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IFX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baseline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FX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FX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mpower_document_placeholder" hidden="1">
            <a:extLst>
              <a:ext uri="{FF2B5EF4-FFF2-40B4-BE49-F238E27FC236}">
                <a16:creationId xmlns:a16="http://schemas.microsoft.com/office/drawing/2014/main" id="{FFF0FC12-D2C8-4BAD-95E2-CE9BB9B049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9" name="empower_proprietary_placeholder" hidden="1">
            <a:extLst>
              <a:ext uri="{FF2B5EF4-FFF2-40B4-BE49-F238E27FC236}">
                <a16:creationId xmlns:a16="http://schemas.microsoft.com/office/drawing/2014/main" id="{0BDDFA46-F5B0-4BB6-87E6-3417954792B2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additionalText_placeholder" hidden="1">
            <a:extLst>
              <a:ext uri="{FF2B5EF4-FFF2-40B4-BE49-F238E27FC236}">
                <a16:creationId xmlns:a16="http://schemas.microsoft.com/office/drawing/2014/main" id="{5769E316-91CB-4D6E-B73F-31C3CCEAAFE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raft_placeholder" hidden="1">
            <a:extLst>
              <a:ext uri="{FF2B5EF4-FFF2-40B4-BE49-F238E27FC236}">
                <a16:creationId xmlns:a16="http://schemas.microsoft.com/office/drawing/2014/main" id="{EB5D3F4D-E18D-43D6-BC78-7B42138EAE8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1" name="empower_footer_placeholder">
            <a:extLst>
              <a:ext uri="{FF2B5EF4-FFF2-40B4-BE49-F238E27FC236}">
                <a16:creationId xmlns:a16="http://schemas.microsoft.com/office/drawing/2014/main" id="{2828881E-C881-4A10-9684-6DDF4156ECC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baseline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classification_attention_placeholder" hidden="1">
            <a:extLst>
              <a:ext uri="{FF2B5EF4-FFF2-40B4-BE49-F238E27FC236}">
                <a16:creationId xmlns:a16="http://schemas.microsoft.com/office/drawing/2014/main" id="{DB33BF1D-F784-46C4-9C51-BC117FD6E082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3" name="empower_classification_placeholder">
            <a:extLst>
              <a:ext uri="{FF2B5EF4-FFF2-40B4-BE49-F238E27FC236}">
                <a16:creationId xmlns:a16="http://schemas.microsoft.com/office/drawing/2014/main" id="{96A62A3F-8D88-4727-B106-3B0FFAC6898D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0D4C3B03-A49F-481B-9F5A-D907E4D8C35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38" name="Topic 1"/>
          <p:cNvSpPr>
            <a:spLocks noGrp="1"/>
          </p:cNvSpPr>
          <p:nvPr>
            <p:ph type="body" idx="17" hasCustomPrompt="1"/>
          </p:nvPr>
        </p:nvSpPr>
        <p:spPr>
          <a:xfrm>
            <a:off x="1235075" y="1268412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39" name="Topic 2"/>
          <p:cNvSpPr>
            <a:spLocks noGrp="1"/>
          </p:cNvSpPr>
          <p:nvPr>
            <p:ph type="body" sz="quarter" idx="18" hasCustomPrompt="1"/>
          </p:nvPr>
        </p:nvSpPr>
        <p:spPr>
          <a:xfrm>
            <a:off x="1235075" y="1916493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0" name="Topic 3"/>
          <p:cNvSpPr>
            <a:spLocks noGrp="1"/>
          </p:cNvSpPr>
          <p:nvPr>
            <p:ph type="body" sz="quarter" idx="19" hasCustomPrompt="1"/>
          </p:nvPr>
        </p:nvSpPr>
        <p:spPr>
          <a:xfrm>
            <a:off x="1235075" y="2564575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1" name="Topic 4"/>
          <p:cNvSpPr>
            <a:spLocks noGrp="1"/>
          </p:cNvSpPr>
          <p:nvPr>
            <p:ph type="body" sz="quarter" idx="20" hasCustomPrompt="1"/>
          </p:nvPr>
        </p:nvSpPr>
        <p:spPr>
          <a:xfrm>
            <a:off x="1235075" y="3212655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2" name="Topic 5"/>
          <p:cNvSpPr>
            <a:spLocks noGrp="1"/>
          </p:cNvSpPr>
          <p:nvPr>
            <p:ph type="body" sz="quarter" idx="21" hasCustomPrompt="1"/>
          </p:nvPr>
        </p:nvSpPr>
        <p:spPr>
          <a:xfrm>
            <a:off x="1235075" y="3860736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3" name="Topic 6"/>
          <p:cNvSpPr>
            <a:spLocks noGrp="1"/>
          </p:cNvSpPr>
          <p:nvPr>
            <p:ph type="body" sz="quarter" idx="22" hasCustomPrompt="1"/>
          </p:nvPr>
        </p:nvSpPr>
        <p:spPr>
          <a:xfrm>
            <a:off x="1235075" y="4508817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4" name="Topic 7"/>
          <p:cNvSpPr>
            <a:spLocks noGrp="1"/>
          </p:cNvSpPr>
          <p:nvPr>
            <p:ph type="body" sz="quarter" idx="23" hasCustomPrompt="1"/>
          </p:nvPr>
        </p:nvSpPr>
        <p:spPr>
          <a:xfrm>
            <a:off x="1235075" y="5156899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5" name="Topic 8"/>
          <p:cNvSpPr>
            <a:spLocks noGrp="1"/>
          </p:cNvSpPr>
          <p:nvPr>
            <p:ph type="body" sz="quarter" idx="24" hasCustomPrompt="1"/>
          </p:nvPr>
        </p:nvSpPr>
        <p:spPr>
          <a:xfrm>
            <a:off x="1235075" y="5804979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6" name="No 1"/>
          <p:cNvSpPr>
            <a:spLocks noGrp="1"/>
          </p:cNvSpPr>
          <p:nvPr>
            <p:ph type="body" idx="28" hasCustomPrompt="1"/>
          </p:nvPr>
        </p:nvSpPr>
        <p:spPr>
          <a:xfrm>
            <a:off x="334433" y="1268412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47" name="No 2"/>
          <p:cNvSpPr>
            <a:spLocks noGrp="1"/>
          </p:cNvSpPr>
          <p:nvPr>
            <p:ph type="body" idx="29" hasCustomPrompt="1"/>
          </p:nvPr>
        </p:nvSpPr>
        <p:spPr>
          <a:xfrm>
            <a:off x="334433" y="1916593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48" name="No 3"/>
          <p:cNvSpPr>
            <a:spLocks noGrp="1"/>
          </p:cNvSpPr>
          <p:nvPr>
            <p:ph type="body" idx="30" hasCustomPrompt="1"/>
          </p:nvPr>
        </p:nvSpPr>
        <p:spPr>
          <a:xfrm>
            <a:off x="334433" y="2564775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49" name="No 4"/>
          <p:cNvSpPr>
            <a:spLocks noGrp="1"/>
          </p:cNvSpPr>
          <p:nvPr>
            <p:ph type="body" idx="31" hasCustomPrompt="1"/>
          </p:nvPr>
        </p:nvSpPr>
        <p:spPr>
          <a:xfrm>
            <a:off x="334433" y="3212955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0" name="No 5"/>
          <p:cNvSpPr>
            <a:spLocks noGrp="1"/>
          </p:cNvSpPr>
          <p:nvPr>
            <p:ph type="body" idx="32" hasCustomPrompt="1"/>
          </p:nvPr>
        </p:nvSpPr>
        <p:spPr>
          <a:xfrm>
            <a:off x="334433" y="3861136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1" name="No 6"/>
          <p:cNvSpPr>
            <a:spLocks noGrp="1"/>
          </p:cNvSpPr>
          <p:nvPr>
            <p:ph type="body" idx="33" hasCustomPrompt="1"/>
          </p:nvPr>
        </p:nvSpPr>
        <p:spPr>
          <a:xfrm>
            <a:off x="334433" y="4509317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2" name="No 7"/>
          <p:cNvSpPr>
            <a:spLocks noGrp="1"/>
          </p:cNvSpPr>
          <p:nvPr>
            <p:ph type="body" idx="34" hasCustomPrompt="1"/>
          </p:nvPr>
        </p:nvSpPr>
        <p:spPr>
          <a:xfrm>
            <a:off x="334433" y="5157499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3" name="No 8"/>
          <p:cNvSpPr>
            <a:spLocks noGrp="1"/>
          </p:cNvSpPr>
          <p:nvPr>
            <p:ph type="body" idx="35" hasCustomPrompt="1"/>
          </p:nvPr>
        </p:nvSpPr>
        <p:spPr>
          <a:xfrm>
            <a:off x="334433" y="5805679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B94D8A8-4B77-4829-982D-1A3D414A0E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7EB33F8-02F3-4EEB-93FB-9B514FC31E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9C70D32-2EA3-441D-A93F-DF718BFCDEBA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95A5B893-AEEA-4A9B-834F-0AED2489648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9D36A4-A38C-4A9D-95E1-B4D140908E0C}"/>
              </a:ext>
            </a:extLst>
          </p:cNvPr>
          <p:cNvSpPr>
            <a:spLocks noGrp="1"/>
          </p:cNvSpPr>
          <p:nvPr>
            <p:ph type="dt" sz="half" idx="36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9C62616-E1F5-4B62-8560-97C66E1D1A89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1BD0683-2F82-4B08-96F8-5CAC7C42B277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78">
          <p15:clr>
            <a:srgbClr val="FBAE40"/>
          </p15:clr>
        </p15:guide>
        <p15:guide id="2" pos="7469">
          <p15:clr>
            <a:srgbClr val="FBAE40"/>
          </p15:clr>
        </p15:guide>
        <p15:guide id="3" pos="211">
          <p15:clr>
            <a:srgbClr val="FBAE40"/>
          </p15:clr>
        </p15:guide>
        <p15:guide id="4" orient="horz" pos="799">
          <p15:clr>
            <a:srgbClr val="FBAE40"/>
          </p15:clr>
        </p15:guide>
        <p15:guide id="5" orient="horz" pos="402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FX_Title_and_Two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FX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grpSp>
        <p:nvGrpSpPr>
          <p:cNvPr id="10" name="Lines"/>
          <p:cNvGrpSpPr/>
          <p:nvPr/>
        </p:nvGrpSpPr>
        <p:grpSpPr>
          <a:xfrm>
            <a:off x="-35982" y="0"/>
            <a:ext cx="12227983" cy="5733256"/>
            <a:chOff x="-26987" y="0"/>
            <a:chExt cx="9170987" cy="5733256"/>
          </a:xfrm>
          <a:solidFill>
            <a:schemeClr val="accent3"/>
          </a:solidFill>
        </p:grpSpPr>
        <p:cxnSp>
          <p:nvCxnSpPr>
            <p:cNvPr id="11" name="Gerade Verbindung 5"/>
            <p:cNvCxnSpPr/>
            <p:nvPr/>
          </p:nvCxnSpPr>
          <p:spPr>
            <a:xfrm flipH="1">
              <a:off x="3587742" y="2708920"/>
              <a:ext cx="5556256" cy="2127991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0"/>
            <p:cNvCxnSpPr/>
            <p:nvPr/>
          </p:nvCxnSpPr>
          <p:spPr>
            <a:xfrm flipH="1" flipV="1">
              <a:off x="3587741" y="4836910"/>
              <a:ext cx="264179" cy="896346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3"/>
            <p:cNvCxnSpPr/>
            <p:nvPr/>
          </p:nvCxnSpPr>
          <p:spPr>
            <a:xfrm flipH="1" flipV="1">
              <a:off x="-26987" y="3429646"/>
              <a:ext cx="3614729" cy="1407264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6"/>
            <p:cNvCxnSpPr/>
            <p:nvPr/>
          </p:nvCxnSpPr>
          <p:spPr>
            <a:xfrm flipH="1" flipV="1">
              <a:off x="5652120" y="0"/>
              <a:ext cx="3491880" cy="4149081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Ellipse 6"/>
            <p:cNvSpPr/>
            <p:nvPr/>
          </p:nvSpPr>
          <p:spPr bwMode="auto">
            <a:xfrm>
              <a:off x="3535623" y="4765225"/>
              <a:ext cx="108000" cy="144000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72000" tIns="72000" rIns="72000" bIns="72000" rtlCol="0" anchor="ctr"/>
            <a:lstStyle/>
            <a:p>
              <a:pPr algn="ctr" eaLnBrk="0" hangingPunct="0"/>
              <a:endParaRPr lang="en-US" sz="2133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7" name="Background Shape">
            <a:extLst>
              <a:ext uri="{FF2B5EF4-FFF2-40B4-BE49-F238E27FC236}">
                <a16:creationId xmlns:a16="http://schemas.microsoft.com/office/drawing/2014/main" id="{53E8A2FC-E199-464B-B567-84BD0308D940}"/>
              </a:ext>
            </a:extLst>
          </p:cNvPr>
          <p:cNvSpPr/>
          <p:nvPr userDrawn="1"/>
        </p:nvSpPr>
        <p:spPr bwMode="auto">
          <a:xfrm>
            <a:off x="0" y="4966780"/>
            <a:ext cx="12197369" cy="1891220"/>
          </a:xfrm>
          <a:custGeom>
            <a:avLst/>
            <a:gdLst>
              <a:gd name="connsiteX0" fmla="*/ 9113004 w 9113004"/>
              <a:gd name="connsiteY0" fmla="*/ 92990 h 1906291"/>
              <a:gd name="connsiteX1" fmla="*/ 9113004 w 9113004"/>
              <a:gd name="connsiteY1" fmla="*/ 1906291 h 1906291"/>
              <a:gd name="connsiteX2" fmla="*/ 0 w 9113004"/>
              <a:gd name="connsiteY2" fmla="*/ 1906291 h 1906291"/>
              <a:gd name="connsiteX3" fmla="*/ 0 w 9113004"/>
              <a:gd name="connsiteY3" fmla="*/ 674176 h 1906291"/>
              <a:gd name="connsiteX4" fmla="*/ 7849892 w 9113004"/>
              <a:gd name="connsiteY4" fmla="*/ 0 h 1906291"/>
              <a:gd name="connsiteX5" fmla="*/ 9113004 w 9113004"/>
              <a:gd name="connsiteY5" fmla="*/ 92990 h 1906291"/>
              <a:gd name="connsiteX0" fmla="*/ 9120917 w 9120917"/>
              <a:gd name="connsiteY0" fmla="*/ 92990 h 1906291"/>
              <a:gd name="connsiteX1" fmla="*/ 9120917 w 9120917"/>
              <a:gd name="connsiteY1" fmla="*/ 1906291 h 1906291"/>
              <a:gd name="connsiteX2" fmla="*/ 7913 w 9120917"/>
              <a:gd name="connsiteY2" fmla="*/ 1906291 h 1906291"/>
              <a:gd name="connsiteX3" fmla="*/ 0 w 9120917"/>
              <a:gd name="connsiteY3" fmla="*/ 525435 h 1906291"/>
              <a:gd name="connsiteX4" fmla="*/ 7857805 w 9120917"/>
              <a:gd name="connsiteY4" fmla="*/ 0 h 1906291"/>
              <a:gd name="connsiteX5" fmla="*/ 9120917 w 9120917"/>
              <a:gd name="connsiteY5" fmla="*/ 92990 h 1906291"/>
              <a:gd name="connsiteX0" fmla="*/ 9120917 w 9120917"/>
              <a:gd name="connsiteY0" fmla="*/ 0 h 1813301"/>
              <a:gd name="connsiteX1" fmla="*/ 9120917 w 9120917"/>
              <a:gd name="connsiteY1" fmla="*/ 1813301 h 1813301"/>
              <a:gd name="connsiteX2" fmla="*/ 7913 w 9120917"/>
              <a:gd name="connsiteY2" fmla="*/ 1813301 h 1813301"/>
              <a:gd name="connsiteX3" fmla="*/ 0 w 9120917"/>
              <a:gd name="connsiteY3" fmla="*/ 432445 h 1813301"/>
              <a:gd name="connsiteX4" fmla="*/ 7841980 w 9120917"/>
              <a:gd name="connsiteY4" fmla="*/ 683774 h 1813301"/>
              <a:gd name="connsiteX5" fmla="*/ 9120917 w 9120917"/>
              <a:gd name="connsiteY5" fmla="*/ 0 h 1813301"/>
              <a:gd name="connsiteX0" fmla="*/ 9120917 w 9120917"/>
              <a:gd name="connsiteY0" fmla="*/ 0 h 1813301"/>
              <a:gd name="connsiteX1" fmla="*/ 9120917 w 9120917"/>
              <a:gd name="connsiteY1" fmla="*/ 1813301 h 1813301"/>
              <a:gd name="connsiteX2" fmla="*/ 7913 w 9120917"/>
              <a:gd name="connsiteY2" fmla="*/ 1813301 h 1813301"/>
              <a:gd name="connsiteX3" fmla="*/ 0 w 9120917"/>
              <a:gd name="connsiteY3" fmla="*/ 432445 h 1813301"/>
              <a:gd name="connsiteX4" fmla="*/ 9120917 w 9120917"/>
              <a:gd name="connsiteY4" fmla="*/ 0 h 1813301"/>
              <a:gd name="connsiteX0" fmla="*/ 9165530 w 9165530"/>
              <a:gd name="connsiteY0" fmla="*/ 0 h 1968240"/>
              <a:gd name="connsiteX1" fmla="*/ 9120917 w 9165530"/>
              <a:gd name="connsiteY1" fmla="*/ 1968240 h 1968240"/>
              <a:gd name="connsiteX2" fmla="*/ 7913 w 9165530"/>
              <a:gd name="connsiteY2" fmla="*/ 1968240 h 1968240"/>
              <a:gd name="connsiteX3" fmla="*/ 0 w 9165530"/>
              <a:gd name="connsiteY3" fmla="*/ 587384 h 1968240"/>
              <a:gd name="connsiteX4" fmla="*/ 9165530 w 9165530"/>
              <a:gd name="connsiteY4" fmla="*/ 0 h 1968240"/>
              <a:gd name="connsiteX0" fmla="*/ 9128352 w 9128352"/>
              <a:gd name="connsiteY0" fmla="*/ 0 h 1916593"/>
              <a:gd name="connsiteX1" fmla="*/ 9120917 w 9128352"/>
              <a:gd name="connsiteY1" fmla="*/ 1916593 h 1916593"/>
              <a:gd name="connsiteX2" fmla="*/ 7913 w 9128352"/>
              <a:gd name="connsiteY2" fmla="*/ 1916593 h 1916593"/>
              <a:gd name="connsiteX3" fmla="*/ 0 w 9128352"/>
              <a:gd name="connsiteY3" fmla="*/ 535737 h 1916593"/>
              <a:gd name="connsiteX4" fmla="*/ 9128352 w 9128352"/>
              <a:gd name="connsiteY4" fmla="*/ 0 h 1916593"/>
              <a:gd name="connsiteX0" fmla="*/ 9120917 w 9121632"/>
              <a:gd name="connsiteY0" fmla="*/ 0 h 1937251"/>
              <a:gd name="connsiteX1" fmla="*/ 9120917 w 9121632"/>
              <a:gd name="connsiteY1" fmla="*/ 1937251 h 1937251"/>
              <a:gd name="connsiteX2" fmla="*/ 7913 w 9121632"/>
              <a:gd name="connsiteY2" fmla="*/ 1937251 h 1937251"/>
              <a:gd name="connsiteX3" fmla="*/ 0 w 9121632"/>
              <a:gd name="connsiteY3" fmla="*/ 556395 h 1937251"/>
              <a:gd name="connsiteX4" fmla="*/ 9120917 w 9121632"/>
              <a:gd name="connsiteY4" fmla="*/ 0 h 1937251"/>
              <a:gd name="connsiteX0" fmla="*/ 9120917 w 9121632"/>
              <a:gd name="connsiteY0" fmla="*/ 0 h 1947580"/>
              <a:gd name="connsiteX1" fmla="*/ 9120917 w 9121632"/>
              <a:gd name="connsiteY1" fmla="*/ 1947580 h 1947580"/>
              <a:gd name="connsiteX2" fmla="*/ 7913 w 9121632"/>
              <a:gd name="connsiteY2" fmla="*/ 1947580 h 1947580"/>
              <a:gd name="connsiteX3" fmla="*/ 0 w 9121632"/>
              <a:gd name="connsiteY3" fmla="*/ 566724 h 1947580"/>
              <a:gd name="connsiteX4" fmla="*/ 9120917 w 9121632"/>
              <a:gd name="connsiteY4" fmla="*/ 0 h 1947580"/>
              <a:gd name="connsiteX0" fmla="*/ 9120917 w 9121632"/>
              <a:gd name="connsiteY0" fmla="*/ 0 h 1947580"/>
              <a:gd name="connsiteX1" fmla="*/ 9120917 w 9121632"/>
              <a:gd name="connsiteY1" fmla="*/ 1947580 h 1947580"/>
              <a:gd name="connsiteX2" fmla="*/ 7913 w 9121632"/>
              <a:gd name="connsiteY2" fmla="*/ 1947580 h 1947580"/>
              <a:gd name="connsiteX3" fmla="*/ 0 w 9121632"/>
              <a:gd name="connsiteY3" fmla="*/ 566724 h 1947580"/>
              <a:gd name="connsiteX4" fmla="*/ 9120917 w 9121632"/>
              <a:gd name="connsiteY4" fmla="*/ 0 h 1947580"/>
              <a:gd name="connsiteX0" fmla="*/ 9122756 w 9122756"/>
              <a:gd name="connsiteY0" fmla="*/ 0 h 1965461"/>
              <a:gd name="connsiteX1" fmla="*/ 9120917 w 9122756"/>
              <a:gd name="connsiteY1" fmla="*/ 1965461 h 1965461"/>
              <a:gd name="connsiteX2" fmla="*/ 7913 w 9122756"/>
              <a:gd name="connsiteY2" fmla="*/ 1965461 h 1965461"/>
              <a:gd name="connsiteX3" fmla="*/ 0 w 9122756"/>
              <a:gd name="connsiteY3" fmla="*/ 584605 h 1965461"/>
              <a:gd name="connsiteX4" fmla="*/ 9122756 w 9122756"/>
              <a:gd name="connsiteY4" fmla="*/ 0 h 1965461"/>
              <a:gd name="connsiteX0" fmla="*/ 9120917 w 9120917"/>
              <a:gd name="connsiteY0" fmla="*/ 0 h 1965461"/>
              <a:gd name="connsiteX1" fmla="*/ 9119078 w 9120917"/>
              <a:gd name="connsiteY1" fmla="*/ 1965461 h 1965461"/>
              <a:gd name="connsiteX2" fmla="*/ 6074 w 9120917"/>
              <a:gd name="connsiteY2" fmla="*/ 1965461 h 1965461"/>
              <a:gd name="connsiteX3" fmla="*/ 0 w 9120917"/>
              <a:gd name="connsiteY3" fmla="*/ 579496 h 1965461"/>
              <a:gd name="connsiteX4" fmla="*/ 9120917 w 9120917"/>
              <a:gd name="connsiteY4" fmla="*/ 0 h 1965461"/>
              <a:gd name="connsiteX0" fmla="*/ 9121190 w 9121190"/>
              <a:gd name="connsiteY0" fmla="*/ 0 h 1965461"/>
              <a:gd name="connsiteX1" fmla="*/ 9119351 w 9121190"/>
              <a:gd name="connsiteY1" fmla="*/ 1965461 h 1965461"/>
              <a:gd name="connsiteX2" fmla="*/ 832 w 9121190"/>
              <a:gd name="connsiteY2" fmla="*/ 1965461 h 1965461"/>
              <a:gd name="connsiteX3" fmla="*/ 273 w 9121190"/>
              <a:gd name="connsiteY3" fmla="*/ 579496 h 1965461"/>
              <a:gd name="connsiteX4" fmla="*/ 9121190 w 9121190"/>
              <a:gd name="connsiteY4" fmla="*/ 0 h 1965461"/>
              <a:gd name="connsiteX0" fmla="*/ 9120917 w 9120917"/>
              <a:gd name="connsiteY0" fmla="*/ 0 h 1965461"/>
              <a:gd name="connsiteX1" fmla="*/ 9119078 w 9120917"/>
              <a:gd name="connsiteY1" fmla="*/ 1965461 h 1965461"/>
              <a:gd name="connsiteX2" fmla="*/ 4235 w 9120917"/>
              <a:gd name="connsiteY2" fmla="*/ 1965461 h 1965461"/>
              <a:gd name="connsiteX3" fmla="*/ 0 w 9120917"/>
              <a:gd name="connsiteY3" fmla="*/ 579496 h 1965461"/>
              <a:gd name="connsiteX4" fmla="*/ 9120917 w 9120917"/>
              <a:gd name="connsiteY4" fmla="*/ 0 h 1965461"/>
              <a:gd name="connsiteX0" fmla="*/ 9120917 w 9120917"/>
              <a:gd name="connsiteY0" fmla="*/ 0 h 1965461"/>
              <a:gd name="connsiteX1" fmla="*/ 9119078 w 9120917"/>
              <a:gd name="connsiteY1" fmla="*/ 1965461 h 1965461"/>
              <a:gd name="connsiteX2" fmla="*/ 2397 w 9120917"/>
              <a:gd name="connsiteY2" fmla="*/ 1962907 h 1965461"/>
              <a:gd name="connsiteX3" fmla="*/ 0 w 9120917"/>
              <a:gd name="connsiteY3" fmla="*/ 579496 h 1965461"/>
              <a:gd name="connsiteX4" fmla="*/ 9120917 w 9120917"/>
              <a:gd name="connsiteY4" fmla="*/ 0 h 1965461"/>
              <a:gd name="connsiteX0" fmla="*/ 9121190 w 9121190"/>
              <a:gd name="connsiteY0" fmla="*/ 0 h 1965462"/>
              <a:gd name="connsiteX1" fmla="*/ 9119351 w 9121190"/>
              <a:gd name="connsiteY1" fmla="*/ 1965461 h 1965462"/>
              <a:gd name="connsiteX2" fmla="*/ 832 w 9121190"/>
              <a:gd name="connsiteY2" fmla="*/ 1965462 h 1965462"/>
              <a:gd name="connsiteX3" fmla="*/ 273 w 9121190"/>
              <a:gd name="connsiteY3" fmla="*/ 579496 h 1965462"/>
              <a:gd name="connsiteX4" fmla="*/ 9121190 w 9121190"/>
              <a:gd name="connsiteY4" fmla="*/ 0 h 1965462"/>
              <a:gd name="connsiteX0" fmla="*/ 9120917 w 9120917"/>
              <a:gd name="connsiteY0" fmla="*/ 0 h 1965462"/>
              <a:gd name="connsiteX1" fmla="*/ 9119078 w 9120917"/>
              <a:gd name="connsiteY1" fmla="*/ 1965461 h 1965462"/>
              <a:gd name="connsiteX2" fmla="*/ 2397 w 9120917"/>
              <a:gd name="connsiteY2" fmla="*/ 1965462 h 1965462"/>
              <a:gd name="connsiteX3" fmla="*/ 0 w 9120917"/>
              <a:gd name="connsiteY3" fmla="*/ 579496 h 1965462"/>
              <a:gd name="connsiteX4" fmla="*/ 9120917 w 9120917"/>
              <a:gd name="connsiteY4" fmla="*/ 0 h 1965462"/>
              <a:gd name="connsiteX0" fmla="*/ 9120917 w 9120917"/>
              <a:gd name="connsiteY0" fmla="*/ 0 h 1965462"/>
              <a:gd name="connsiteX1" fmla="*/ 9119078 w 9120917"/>
              <a:gd name="connsiteY1" fmla="*/ 1965461 h 1965462"/>
              <a:gd name="connsiteX2" fmla="*/ 2397 w 9120917"/>
              <a:gd name="connsiteY2" fmla="*/ 1965462 h 1965462"/>
              <a:gd name="connsiteX3" fmla="*/ 0 w 9120917"/>
              <a:gd name="connsiteY3" fmla="*/ 579496 h 1965462"/>
              <a:gd name="connsiteX4" fmla="*/ 9120917 w 9120917"/>
              <a:gd name="connsiteY4" fmla="*/ 0 h 1965462"/>
              <a:gd name="connsiteX0" fmla="*/ 9121190 w 9121190"/>
              <a:gd name="connsiteY0" fmla="*/ 0 h 1970571"/>
              <a:gd name="connsiteX1" fmla="*/ 9119351 w 9121190"/>
              <a:gd name="connsiteY1" fmla="*/ 1965461 h 1970571"/>
              <a:gd name="connsiteX2" fmla="*/ 832 w 9121190"/>
              <a:gd name="connsiteY2" fmla="*/ 1970571 h 1970571"/>
              <a:gd name="connsiteX3" fmla="*/ 273 w 9121190"/>
              <a:gd name="connsiteY3" fmla="*/ 579496 h 1970571"/>
              <a:gd name="connsiteX4" fmla="*/ 9121190 w 9121190"/>
              <a:gd name="connsiteY4" fmla="*/ 0 h 1970571"/>
              <a:gd name="connsiteX0" fmla="*/ 9121190 w 9121190"/>
              <a:gd name="connsiteY0" fmla="*/ 0 h 1968017"/>
              <a:gd name="connsiteX1" fmla="*/ 9119351 w 9121190"/>
              <a:gd name="connsiteY1" fmla="*/ 1965461 h 1968017"/>
              <a:gd name="connsiteX2" fmla="*/ 832 w 9121190"/>
              <a:gd name="connsiteY2" fmla="*/ 1968017 h 1968017"/>
              <a:gd name="connsiteX3" fmla="*/ 273 w 9121190"/>
              <a:gd name="connsiteY3" fmla="*/ 579496 h 1968017"/>
              <a:gd name="connsiteX4" fmla="*/ 9121190 w 9121190"/>
              <a:gd name="connsiteY4" fmla="*/ 0 h 1968017"/>
              <a:gd name="connsiteX0" fmla="*/ 9121190 w 9121190"/>
              <a:gd name="connsiteY0" fmla="*/ 0 h 1968017"/>
              <a:gd name="connsiteX1" fmla="*/ 9119351 w 9121190"/>
              <a:gd name="connsiteY1" fmla="*/ 1965461 h 1968017"/>
              <a:gd name="connsiteX2" fmla="*/ 832 w 9121190"/>
              <a:gd name="connsiteY2" fmla="*/ 1968017 h 1968017"/>
              <a:gd name="connsiteX3" fmla="*/ 273 w 9121190"/>
              <a:gd name="connsiteY3" fmla="*/ 579496 h 1968017"/>
              <a:gd name="connsiteX4" fmla="*/ 9121190 w 9121190"/>
              <a:gd name="connsiteY4" fmla="*/ 0 h 1968017"/>
              <a:gd name="connsiteX0" fmla="*/ 9120917 w 9120917"/>
              <a:gd name="connsiteY0" fmla="*/ 0 h 1968017"/>
              <a:gd name="connsiteX1" fmla="*/ 9119078 w 9120917"/>
              <a:gd name="connsiteY1" fmla="*/ 1965461 h 1968017"/>
              <a:gd name="connsiteX2" fmla="*/ 2397 w 9120917"/>
              <a:gd name="connsiteY2" fmla="*/ 1968017 h 1968017"/>
              <a:gd name="connsiteX3" fmla="*/ 0 w 9120917"/>
              <a:gd name="connsiteY3" fmla="*/ 579496 h 1968017"/>
              <a:gd name="connsiteX4" fmla="*/ 9120917 w 9120917"/>
              <a:gd name="connsiteY4" fmla="*/ 0 h 1968017"/>
              <a:gd name="connsiteX0" fmla="*/ 9120917 w 9120917"/>
              <a:gd name="connsiteY0" fmla="*/ 0 h 1968017"/>
              <a:gd name="connsiteX1" fmla="*/ 9119078 w 9120917"/>
              <a:gd name="connsiteY1" fmla="*/ 1965461 h 1968017"/>
              <a:gd name="connsiteX2" fmla="*/ 2397 w 9120917"/>
              <a:gd name="connsiteY2" fmla="*/ 1968017 h 1968017"/>
              <a:gd name="connsiteX3" fmla="*/ 0 w 9120917"/>
              <a:gd name="connsiteY3" fmla="*/ 579496 h 1968017"/>
              <a:gd name="connsiteX4" fmla="*/ 9120917 w 9120917"/>
              <a:gd name="connsiteY4" fmla="*/ 0 h 1968017"/>
              <a:gd name="connsiteX0" fmla="*/ 9120917 w 9120917"/>
              <a:gd name="connsiteY0" fmla="*/ 0 h 1968017"/>
              <a:gd name="connsiteX1" fmla="*/ 9119078 w 9120917"/>
              <a:gd name="connsiteY1" fmla="*/ 1965461 h 1968017"/>
              <a:gd name="connsiteX2" fmla="*/ 2397 w 9120917"/>
              <a:gd name="connsiteY2" fmla="*/ 1968017 h 1968017"/>
              <a:gd name="connsiteX3" fmla="*/ 0 w 9120917"/>
              <a:gd name="connsiteY3" fmla="*/ 579496 h 1968017"/>
              <a:gd name="connsiteX4" fmla="*/ 9120917 w 9120917"/>
              <a:gd name="connsiteY4" fmla="*/ 0 h 1968017"/>
              <a:gd name="connsiteX0" fmla="*/ 9122197 w 9122197"/>
              <a:gd name="connsiteY0" fmla="*/ 0 h 1965463"/>
              <a:gd name="connsiteX1" fmla="*/ 9120358 w 9122197"/>
              <a:gd name="connsiteY1" fmla="*/ 1965461 h 1965463"/>
              <a:gd name="connsiteX2" fmla="*/ 0 w 9122197"/>
              <a:gd name="connsiteY2" fmla="*/ 1965463 h 1965463"/>
              <a:gd name="connsiteX3" fmla="*/ 1280 w 9122197"/>
              <a:gd name="connsiteY3" fmla="*/ 579496 h 1965463"/>
              <a:gd name="connsiteX4" fmla="*/ 9122197 w 9122197"/>
              <a:gd name="connsiteY4" fmla="*/ 0 h 1965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22197" h="1965463">
                <a:moveTo>
                  <a:pt x="9122197" y="0"/>
                </a:moveTo>
                <a:cubicBezTo>
                  <a:pt x="9119719" y="638864"/>
                  <a:pt x="9122836" y="1326597"/>
                  <a:pt x="9120358" y="1965461"/>
                </a:cubicBezTo>
                <a:lnTo>
                  <a:pt x="0" y="1965463"/>
                </a:lnTo>
                <a:cubicBezTo>
                  <a:pt x="427" y="1503474"/>
                  <a:pt x="853" y="1041485"/>
                  <a:pt x="1280" y="579496"/>
                </a:cubicBezTo>
                <a:lnTo>
                  <a:pt x="9122197" y="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="1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2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tags" Target="../tags/tag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eco Shape Right">
            <a:extLst>
              <a:ext uri="{FF2B5EF4-FFF2-40B4-BE49-F238E27FC236}">
                <a16:creationId xmlns:a16="http://schemas.microsoft.com/office/drawing/2014/main" id="{0FEC887A-3A42-42E1-B795-C3A79C447F1E}"/>
              </a:ext>
            </a:extLst>
          </p:cNvPr>
          <p:cNvSpPr>
            <a:spLocks/>
          </p:cNvSpPr>
          <p:nvPr userDrawn="1">
            <p:custDataLst>
              <p:tags r:id="rId21"/>
            </p:custDataLst>
          </p:nvPr>
        </p:nvSpPr>
        <p:spPr bwMode="auto">
          <a:xfrm>
            <a:off x="11674115" y="6489341"/>
            <a:ext cx="518564" cy="368660"/>
          </a:xfrm>
          <a:custGeom>
            <a:avLst/>
            <a:gdLst>
              <a:gd name="connsiteX0" fmla="*/ 233365 w 388923"/>
              <a:gd name="connsiteY0" fmla="*/ 0 h 268456"/>
              <a:gd name="connsiteX1" fmla="*/ 388923 w 388923"/>
              <a:gd name="connsiteY1" fmla="*/ 0 h 268456"/>
              <a:gd name="connsiteX2" fmla="*/ 388923 w 388923"/>
              <a:gd name="connsiteY2" fmla="*/ 268456 h 268456"/>
              <a:gd name="connsiteX3" fmla="*/ 0 w 388923"/>
              <a:gd name="connsiteY3" fmla="*/ 268456 h 268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8923" h="268456">
                <a:moveTo>
                  <a:pt x="233365" y="0"/>
                </a:moveTo>
                <a:lnTo>
                  <a:pt x="388923" y="0"/>
                </a:lnTo>
                <a:lnTo>
                  <a:pt x="388923" y="268456"/>
                </a:lnTo>
                <a:lnTo>
                  <a:pt x="0" y="268456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>
            <a:noAutofit/>
          </a:bodyPr>
          <a:lstStyle/>
          <a:p>
            <a:pPr lvl="0" algn="ctr" eaLnBrk="0" hangingPunct="0"/>
            <a:endParaRPr lang="en-US" sz="9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0" name="Deco Shape Left">
            <a:extLst>
              <a:ext uri="{FF2B5EF4-FFF2-40B4-BE49-F238E27FC236}">
                <a16:creationId xmlns:a16="http://schemas.microsoft.com/office/drawing/2014/main" id="{115C01C8-35B4-47DF-87EA-B41C01532174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10720771" y="6489341"/>
            <a:ext cx="1244253" cy="368660"/>
          </a:xfrm>
          <a:custGeom>
            <a:avLst/>
            <a:gdLst>
              <a:gd name="connsiteX0" fmla="*/ 0 w 933190"/>
              <a:gd name="connsiteY0" fmla="*/ 0 h 267494"/>
              <a:gd name="connsiteX1" fmla="*/ 933190 w 933190"/>
              <a:gd name="connsiteY1" fmla="*/ 0 h 267494"/>
              <a:gd name="connsiteX2" fmla="*/ 700660 w 933190"/>
              <a:gd name="connsiteY2" fmla="*/ 267494 h 267494"/>
              <a:gd name="connsiteX3" fmla="*/ 42367 w 933190"/>
              <a:gd name="connsiteY3" fmla="*/ 267494 h 267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33190" h="267494">
                <a:moveTo>
                  <a:pt x="0" y="0"/>
                </a:moveTo>
                <a:lnTo>
                  <a:pt x="933190" y="0"/>
                </a:lnTo>
                <a:lnTo>
                  <a:pt x="700660" y="267494"/>
                </a:lnTo>
                <a:lnTo>
                  <a:pt x="42367" y="267494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>
            <a:noAutofit/>
          </a:bodyPr>
          <a:lstStyle/>
          <a:p>
            <a:pPr lvl="0" algn="ctr" eaLnBrk="0" hangingPunct="0"/>
            <a:endParaRPr lang="en-US" sz="900" baseline="0" noProof="0" dirty="0">
              <a:latin typeface="+mn-lt"/>
              <a:ea typeface="+mn-ea"/>
              <a:cs typeface="+mn-cs"/>
            </a:endParaRPr>
          </a:p>
        </p:txBody>
      </p:sp>
      <p:cxnSp>
        <p:nvCxnSpPr>
          <p:cNvPr id="18" name="Line Bottom">
            <a:extLst>
              <a:ext uri="{FF2B5EF4-FFF2-40B4-BE49-F238E27FC236}">
                <a16:creationId xmlns:a16="http://schemas.microsoft.com/office/drawing/2014/main" id="{50DF868B-BD2D-490A-A05B-F87011512922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>
          <a:xfrm>
            <a:off x="0" y="6489340"/>
            <a:ext cx="12193200" cy="0"/>
          </a:xfrm>
          <a:prstGeom prst="line">
            <a:avLst/>
          </a:prstGeom>
          <a:ln w="9525">
            <a:solidFill>
              <a:srgbClr val="B0A5A7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5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cxnSp>
        <p:nvCxnSpPr>
          <p:cNvPr id="9" name="Line Top">
            <a:extLst>
              <a:ext uri="{FF2B5EF4-FFF2-40B4-BE49-F238E27FC236}">
                <a16:creationId xmlns:a16="http://schemas.microsoft.com/office/drawing/2014/main" id="{F58AA643-AEA6-4443-BCBC-495B84238BF5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>
          <a:xfrm>
            <a:off x="334434" y="908721"/>
            <a:ext cx="11521017" cy="0"/>
          </a:xfrm>
          <a:prstGeom prst="line">
            <a:avLst/>
          </a:prstGeom>
          <a:ln w="9525">
            <a:solidFill>
              <a:srgbClr val="B0A5A7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7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 dirty="0"/>
          </a:p>
        </p:txBody>
      </p:sp>
      <p:grpSp>
        <p:nvGrpSpPr>
          <p:cNvPr id="2" name="Logo">
            <a:extLst>
              <a:ext uri="{FF2B5EF4-FFF2-40B4-BE49-F238E27FC236}">
                <a16:creationId xmlns:a16="http://schemas.microsoft.com/office/drawing/2014/main" id="{09F6C2B3-52AF-4C87-8DA7-D88B6BD510D6}"/>
              </a:ext>
            </a:extLst>
          </p:cNvPr>
          <p:cNvGrpSpPr/>
          <p:nvPr/>
        </p:nvGrpSpPr>
        <p:grpSpPr>
          <a:xfrm>
            <a:off x="10659752" y="193689"/>
            <a:ext cx="1206736" cy="528057"/>
            <a:chOff x="10659752" y="193689"/>
            <a:chExt cx="1206736" cy="528057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B481A94B-AD7D-4E10-A0F1-8388E7B440B1}"/>
                </a:ext>
              </a:extLst>
            </p:cNvPr>
            <p:cNvSpPr/>
            <p:nvPr/>
          </p:nvSpPr>
          <p:spPr>
            <a:xfrm>
              <a:off x="10819003" y="243412"/>
              <a:ext cx="932942" cy="305729"/>
            </a:xfrm>
            <a:custGeom>
              <a:avLst/>
              <a:gdLst>
                <a:gd name="connsiteX0" fmla="*/ 740052 w 932942"/>
                <a:gd name="connsiteY0" fmla="*/ 305729 h 305729"/>
                <a:gd name="connsiteX1" fmla="*/ 799239 w 932942"/>
                <a:gd name="connsiteY1" fmla="*/ 214181 h 305729"/>
                <a:gd name="connsiteX2" fmla="*/ 740052 w 932942"/>
                <a:gd name="connsiteY2" fmla="*/ 124761 h 305729"/>
                <a:gd name="connsiteX3" fmla="*/ 681717 w 932942"/>
                <a:gd name="connsiteY3" fmla="*/ 215032 h 305729"/>
                <a:gd name="connsiteX4" fmla="*/ 740052 w 932942"/>
                <a:gd name="connsiteY4" fmla="*/ 305729 h 305729"/>
                <a:gd name="connsiteX5" fmla="*/ 717910 w 932942"/>
                <a:gd name="connsiteY5" fmla="*/ 213755 h 305729"/>
                <a:gd name="connsiteX6" fmla="*/ 740052 w 932942"/>
                <a:gd name="connsiteY6" fmla="*/ 155419 h 305729"/>
                <a:gd name="connsiteX7" fmla="*/ 763046 w 932942"/>
                <a:gd name="connsiteY7" fmla="*/ 214606 h 305729"/>
                <a:gd name="connsiteX8" fmla="*/ 740904 w 932942"/>
                <a:gd name="connsiteY8" fmla="*/ 275923 h 305729"/>
                <a:gd name="connsiteX9" fmla="*/ 717910 w 932942"/>
                <a:gd name="connsiteY9" fmla="*/ 213755 h 305729"/>
                <a:gd name="connsiteX10" fmla="*/ 608904 w 932942"/>
                <a:gd name="connsiteY10" fmla="*/ 305729 h 305729"/>
                <a:gd name="connsiteX11" fmla="*/ 657871 w 932942"/>
                <a:gd name="connsiteY11" fmla="*/ 282735 h 305729"/>
                <a:gd name="connsiteX12" fmla="*/ 644671 w 932942"/>
                <a:gd name="connsiteY12" fmla="*/ 258039 h 305729"/>
                <a:gd name="connsiteX13" fmla="*/ 611884 w 932942"/>
                <a:gd name="connsiteY13" fmla="*/ 275071 h 305729"/>
                <a:gd name="connsiteX14" fmla="*/ 588039 w 932942"/>
                <a:gd name="connsiteY14" fmla="*/ 258890 h 305729"/>
                <a:gd name="connsiteX15" fmla="*/ 582929 w 932942"/>
                <a:gd name="connsiteY15" fmla="*/ 228658 h 305729"/>
                <a:gd name="connsiteX16" fmla="*/ 582929 w 932942"/>
                <a:gd name="connsiteY16" fmla="*/ 225252 h 305729"/>
                <a:gd name="connsiteX17" fmla="*/ 659575 w 932942"/>
                <a:gd name="connsiteY17" fmla="*/ 225252 h 305729"/>
                <a:gd name="connsiteX18" fmla="*/ 659575 w 932942"/>
                <a:gd name="connsiteY18" fmla="*/ 217587 h 305729"/>
                <a:gd name="connsiteX19" fmla="*/ 642968 w 932942"/>
                <a:gd name="connsiteY19" fmla="*/ 143071 h 305729"/>
                <a:gd name="connsiteX20" fmla="*/ 604645 w 932942"/>
                <a:gd name="connsiteY20" fmla="*/ 124761 h 305729"/>
                <a:gd name="connsiteX21" fmla="*/ 563342 w 932942"/>
                <a:gd name="connsiteY21" fmla="*/ 147329 h 305729"/>
                <a:gd name="connsiteX22" fmla="*/ 547587 w 932942"/>
                <a:gd name="connsiteY22" fmla="*/ 215032 h 305729"/>
                <a:gd name="connsiteX23" fmla="*/ 608904 w 932942"/>
                <a:gd name="connsiteY23" fmla="*/ 305729 h 305729"/>
                <a:gd name="connsiteX24" fmla="*/ 605071 w 932942"/>
                <a:gd name="connsiteY24" fmla="*/ 152865 h 305729"/>
                <a:gd name="connsiteX25" fmla="*/ 622104 w 932942"/>
                <a:gd name="connsiteY25" fmla="*/ 165213 h 305729"/>
                <a:gd name="connsiteX26" fmla="*/ 625936 w 932942"/>
                <a:gd name="connsiteY26" fmla="*/ 197148 h 305729"/>
                <a:gd name="connsiteX27" fmla="*/ 582929 w 932942"/>
                <a:gd name="connsiteY27" fmla="*/ 197148 h 305729"/>
                <a:gd name="connsiteX28" fmla="*/ 605071 w 932942"/>
                <a:gd name="connsiteY28" fmla="*/ 152865 h 305729"/>
                <a:gd name="connsiteX29" fmla="*/ 827342 w 932942"/>
                <a:gd name="connsiteY29" fmla="*/ 301471 h 305729"/>
                <a:gd name="connsiteX30" fmla="*/ 860555 w 932942"/>
                <a:gd name="connsiteY30" fmla="*/ 301471 h 305729"/>
                <a:gd name="connsiteX31" fmla="*/ 860555 w 932942"/>
                <a:gd name="connsiteY31" fmla="*/ 173729 h 305729"/>
                <a:gd name="connsiteX32" fmla="*/ 884826 w 932942"/>
                <a:gd name="connsiteY32" fmla="*/ 158400 h 305729"/>
                <a:gd name="connsiteX33" fmla="*/ 895897 w 932942"/>
                <a:gd name="connsiteY33" fmla="*/ 162658 h 305729"/>
                <a:gd name="connsiteX34" fmla="*/ 899730 w 932942"/>
                <a:gd name="connsiteY34" fmla="*/ 185226 h 305729"/>
                <a:gd name="connsiteX35" fmla="*/ 899730 w 932942"/>
                <a:gd name="connsiteY35" fmla="*/ 301471 h 305729"/>
                <a:gd name="connsiteX36" fmla="*/ 932942 w 932942"/>
                <a:gd name="connsiteY36" fmla="*/ 301471 h 305729"/>
                <a:gd name="connsiteX37" fmla="*/ 932942 w 932942"/>
                <a:gd name="connsiteY37" fmla="*/ 169897 h 305729"/>
                <a:gd name="connsiteX38" fmla="*/ 924852 w 932942"/>
                <a:gd name="connsiteY38" fmla="*/ 138387 h 305729"/>
                <a:gd name="connsiteX39" fmla="*/ 897601 w 932942"/>
                <a:gd name="connsiteY39" fmla="*/ 126039 h 305729"/>
                <a:gd name="connsiteX40" fmla="*/ 858000 w 932942"/>
                <a:gd name="connsiteY40" fmla="*/ 145200 h 305729"/>
                <a:gd name="connsiteX41" fmla="*/ 853742 w 932942"/>
                <a:gd name="connsiteY41" fmla="*/ 124761 h 305729"/>
                <a:gd name="connsiteX42" fmla="*/ 822659 w 932942"/>
                <a:gd name="connsiteY42" fmla="*/ 132852 h 305729"/>
                <a:gd name="connsiteX43" fmla="*/ 826917 w 932942"/>
                <a:gd name="connsiteY43" fmla="*/ 174581 h 305729"/>
                <a:gd name="connsiteX44" fmla="*/ 826917 w 932942"/>
                <a:gd name="connsiteY44" fmla="*/ 301471 h 305729"/>
                <a:gd name="connsiteX45" fmla="*/ 441562 w 932942"/>
                <a:gd name="connsiteY45" fmla="*/ 145200 h 305729"/>
                <a:gd name="connsiteX46" fmla="*/ 437304 w 932942"/>
                <a:gd name="connsiteY46" fmla="*/ 124761 h 305729"/>
                <a:gd name="connsiteX47" fmla="*/ 406220 w 932942"/>
                <a:gd name="connsiteY47" fmla="*/ 132852 h 305729"/>
                <a:gd name="connsiteX48" fmla="*/ 410478 w 932942"/>
                <a:gd name="connsiteY48" fmla="*/ 174581 h 305729"/>
                <a:gd name="connsiteX49" fmla="*/ 410478 w 932942"/>
                <a:gd name="connsiteY49" fmla="*/ 301045 h 305729"/>
                <a:gd name="connsiteX50" fmla="*/ 443691 w 932942"/>
                <a:gd name="connsiteY50" fmla="*/ 301045 h 305729"/>
                <a:gd name="connsiteX51" fmla="*/ 443691 w 932942"/>
                <a:gd name="connsiteY51" fmla="*/ 173303 h 305729"/>
                <a:gd name="connsiteX52" fmla="*/ 467962 w 932942"/>
                <a:gd name="connsiteY52" fmla="*/ 157974 h 305729"/>
                <a:gd name="connsiteX53" fmla="*/ 479033 w 932942"/>
                <a:gd name="connsiteY53" fmla="*/ 162232 h 305729"/>
                <a:gd name="connsiteX54" fmla="*/ 482865 w 932942"/>
                <a:gd name="connsiteY54" fmla="*/ 184800 h 305729"/>
                <a:gd name="connsiteX55" fmla="*/ 482865 w 932942"/>
                <a:gd name="connsiteY55" fmla="*/ 301045 h 305729"/>
                <a:gd name="connsiteX56" fmla="*/ 516078 w 932942"/>
                <a:gd name="connsiteY56" fmla="*/ 301045 h 305729"/>
                <a:gd name="connsiteX57" fmla="*/ 516078 w 932942"/>
                <a:gd name="connsiteY57" fmla="*/ 169897 h 305729"/>
                <a:gd name="connsiteX58" fmla="*/ 507987 w 932942"/>
                <a:gd name="connsiteY58" fmla="*/ 138387 h 305729"/>
                <a:gd name="connsiteX59" fmla="*/ 480736 w 932942"/>
                <a:gd name="connsiteY59" fmla="*/ 126039 h 305729"/>
                <a:gd name="connsiteX60" fmla="*/ 441562 w 932942"/>
                <a:gd name="connsiteY60" fmla="*/ 145200 h 305729"/>
                <a:gd name="connsiteX61" fmla="*/ 35342 w 932942"/>
                <a:gd name="connsiteY61" fmla="*/ 70684 h 305729"/>
                <a:gd name="connsiteX62" fmla="*/ 70684 w 932942"/>
                <a:gd name="connsiteY62" fmla="*/ 35342 h 305729"/>
                <a:gd name="connsiteX63" fmla="*/ 35342 w 932942"/>
                <a:gd name="connsiteY63" fmla="*/ 0 h 305729"/>
                <a:gd name="connsiteX64" fmla="*/ 0 w 932942"/>
                <a:gd name="connsiteY64" fmla="*/ 35342 h 305729"/>
                <a:gd name="connsiteX65" fmla="*/ 35342 w 932942"/>
                <a:gd name="connsiteY65" fmla="*/ 70684 h 305729"/>
                <a:gd name="connsiteX66" fmla="*/ 198426 w 932942"/>
                <a:gd name="connsiteY66" fmla="*/ 301471 h 305729"/>
                <a:gd name="connsiteX67" fmla="*/ 198426 w 932942"/>
                <a:gd name="connsiteY67" fmla="*/ 169897 h 305729"/>
                <a:gd name="connsiteX68" fmla="*/ 190336 w 932942"/>
                <a:gd name="connsiteY68" fmla="*/ 138387 h 305729"/>
                <a:gd name="connsiteX69" fmla="*/ 163084 w 932942"/>
                <a:gd name="connsiteY69" fmla="*/ 126039 h 305729"/>
                <a:gd name="connsiteX70" fmla="*/ 123484 w 932942"/>
                <a:gd name="connsiteY70" fmla="*/ 145200 h 305729"/>
                <a:gd name="connsiteX71" fmla="*/ 119226 w 932942"/>
                <a:gd name="connsiteY71" fmla="*/ 124761 h 305729"/>
                <a:gd name="connsiteX72" fmla="*/ 88568 w 932942"/>
                <a:gd name="connsiteY72" fmla="*/ 133277 h 305729"/>
                <a:gd name="connsiteX73" fmla="*/ 92826 w 932942"/>
                <a:gd name="connsiteY73" fmla="*/ 175006 h 305729"/>
                <a:gd name="connsiteX74" fmla="*/ 92826 w 932942"/>
                <a:gd name="connsiteY74" fmla="*/ 301471 h 305729"/>
                <a:gd name="connsiteX75" fmla="*/ 126039 w 932942"/>
                <a:gd name="connsiteY75" fmla="*/ 301471 h 305729"/>
                <a:gd name="connsiteX76" fmla="*/ 126039 w 932942"/>
                <a:gd name="connsiteY76" fmla="*/ 173729 h 305729"/>
                <a:gd name="connsiteX77" fmla="*/ 150310 w 932942"/>
                <a:gd name="connsiteY77" fmla="*/ 158400 h 305729"/>
                <a:gd name="connsiteX78" fmla="*/ 161381 w 932942"/>
                <a:gd name="connsiteY78" fmla="*/ 162658 h 305729"/>
                <a:gd name="connsiteX79" fmla="*/ 165213 w 932942"/>
                <a:gd name="connsiteY79" fmla="*/ 185226 h 305729"/>
                <a:gd name="connsiteX80" fmla="*/ 165213 w 932942"/>
                <a:gd name="connsiteY80" fmla="*/ 301471 h 305729"/>
                <a:gd name="connsiteX81" fmla="*/ 198426 w 932942"/>
                <a:gd name="connsiteY81" fmla="*/ 301471 h 305729"/>
                <a:gd name="connsiteX82" fmla="*/ 351291 w 932942"/>
                <a:gd name="connsiteY82" fmla="*/ 61316 h 305729"/>
                <a:gd name="connsiteX83" fmla="*/ 329149 w 932942"/>
                <a:gd name="connsiteY83" fmla="*/ 83458 h 305729"/>
                <a:gd name="connsiteX84" fmla="*/ 350865 w 932942"/>
                <a:gd name="connsiteY84" fmla="*/ 105600 h 305729"/>
                <a:gd name="connsiteX85" fmla="*/ 373007 w 932942"/>
                <a:gd name="connsiteY85" fmla="*/ 83458 h 305729"/>
                <a:gd name="connsiteX86" fmla="*/ 351291 w 932942"/>
                <a:gd name="connsiteY86" fmla="*/ 61316 h 305729"/>
                <a:gd name="connsiteX87" fmla="*/ 19587 w 932942"/>
                <a:gd name="connsiteY87" fmla="*/ 301471 h 305729"/>
                <a:gd name="connsiteX88" fmla="*/ 52800 w 932942"/>
                <a:gd name="connsiteY88" fmla="*/ 301471 h 305729"/>
                <a:gd name="connsiteX89" fmla="*/ 52800 w 932942"/>
                <a:gd name="connsiteY89" fmla="*/ 94103 h 305729"/>
                <a:gd name="connsiteX90" fmla="*/ 19587 w 932942"/>
                <a:gd name="connsiteY90" fmla="*/ 98361 h 305729"/>
                <a:gd name="connsiteX91" fmla="*/ 19587 w 932942"/>
                <a:gd name="connsiteY91" fmla="*/ 301471 h 305729"/>
                <a:gd name="connsiteX92" fmla="*/ 290826 w 932942"/>
                <a:gd name="connsiteY92" fmla="*/ 81755 h 305729"/>
                <a:gd name="connsiteX93" fmla="*/ 306581 w 932942"/>
                <a:gd name="connsiteY93" fmla="*/ 86865 h 305729"/>
                <a:gd name="connsiteX94" fmla="*/ 315949 w 932942"/>
                <a:gd name="connsiteY94" fmla="*/ 60890 h 305729"/>
                <a:gd name="connsiteX95" fmla="*/ 284865 w 932942"/>
                <a:gd name="connsiteY95" fmla="*/ 51523 h 305729"/>
                <a:gd name="connsiteX96" fmla="*/ 259316 w 932942"/>
                <a:gd name="connsiteY96" fmla="*/ 60039 h 305729"/>
                <a:gd name="connsiteX97" fmla="*/ 242710 w 932942"/>
                <a:gd name="connsiteY97" fmla="*/ 106026 h 305729"/>
                <a:gd name="connsiteX98" fmla="*/ 243136 w 932942"/>
                <a:gd name="connsiteY98" fmla="*/ 128594 h 305729"/>
                <a:gd name="connsiteX99" fmla="*/ 231639 w 932942"/>
                <a:gd name="connsiteY99" fmla="*/ 128594 h 305729"/>
                <a:gd name="connsiteX100" fmla="*/ 231639 w 932942"/>
                <a:gd name="connsiteY100" fmla="*/ 157974 h 305729"/>
                <a:gd name="connsiteX101" fmla="*/ 243136 w 932942"/>
                <a:gd name="connsiteY101" fmla="*/ 157974 h 305729"/>
                <a:gd name="connsiteX102" fmla="*/ 243136 w 932942"/>
                <a:gd name="connsiteY102" fmla="*/ 301045 h 305729"/>
                <a:gd name="connsiteX103" fmla="*/ 277200 w 932942"/>
                <a:gd name="connsiteY103" fmla="*/ 301045 h 305729"/>
                <a:gd name="connsiteX104" fmla="*/ 277200 w 932942"/>
                <a:gd name="connsiteY104" fmla="*/ 158400 h 305729"/>
                <a:gd name="connsiteX105" fmla="*/ 302323 w 932942"/>
                <a:gd name="connsiteY105" fmla="*/ 158400 h 305729"/>
                <a:gd name="connsiteX106" fmla="*/ 308710 w 932942"/>
                <a:gd name="connsiteY106" fmla="*/ 129019 h 305729"/>
                <a:gd name="connsiteX107" fmla="*/ 277626 w 932942"/>
                <a:gd name="connsiteY107" fmla="*/ 129019 h 305729"/>
                <a:gd name="connsiteX108" fmla="*/ 277626 w 932942"/>
                <a:gd name="connsiteY108" fmla="*/ 102619 h 305729"/>
                <a:gd name="connsiteX109" fmla="*/ 290826 w 932942"/>
                <a:gd name="connsiteY109" fmla="*/ 81755 h 305729"/>
                <a:gd name="connsiteX110" fmla="*/ 334258 w 932942"/>
                <a:gd name="connsiteY110" fmla="*/ 301471 h 305729"/>
                <a:gd name="connsiteX111" fmla="*/ 367897 w 932942"/>
                <a:gd name="connsiteY111" fmla="*/ 301471 h 305729"/>
                <a:gd name="connsiteX112" fmla="*/ 367897 w 932942"/>
                <a:gd name="connsiteY112" fmla="*/ 126039 h 305729"/>
                <a:gd name="connsiteX113" fmla="*/ 334258 w 932942"/>
                <a:gd name="connsiteY113" fmla="*/ 130297 h 305729"/>
                <a:gd name="connsiteX114" fmla="*/ 334258 w 932942"/>
                <a:gd name="connsiteY114" fmla="*/ 301471 h 305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932942" h="305729">
                  <a:moveTo>
                    <a:pt x="740052" y="305729"/>
                  </a:moveTo>
                  <a:cubicBezTo>
                    <a:pt x="785188" y="305729"/>
                    <a:pt x="799239" y="258039"/>
                    <a:pt x="799239" y="214181"/>
                  </a:cubicBezTo>
                  <a:cubicBezTo>
                    <a:pt x="799239" y="155419"/>
                    <a:pt x="774542" y="124761"/>
                    <a:pt x="740052" y="124761"/>
                  </a:cubicBezTo>
                  <a:cubicBezTo>
                    <a:pt x="696620" y="124761"/>
                    <a:pt x="681291" y="172452"/>
                    <a:pt x="681717" y="215032"/>
                  </a:cubicBezTo>
                  <a:cubicBezTo>
                    <a:pt x="682142" y="257187"/>
                    <a:pt x="694065" y="305729"/>
                    <a:pt x="740052" y="305729"/>
                  </a:cubicBezTo>
                  <a:close/>
                  <a:moveTo>
                    <a:pt x="717910" y="213755"/>
                  </a:moveTo>
                  <a:cubicBezTo>
                    <a:pt x="717910" y="196297"/>
                    <a:pt x="717910" y="155419"/>
                    <a:pt x="740052" y="155419"/>
                  </a:cubicBezTo>
                  <a:cubicBezTo>
                    <a:pt x="763897" y="155419"/>
                    <a:pt x="763046" y="195871"/>
                    <a:pt x="763046" y="214606"/>
                  </a:cubicBezTo>
                  <a:cubicBezTo>
                    <a:pt x="763046" y="232490"/>
                    <a:pt x="763046" y="275923"/>
                    <a:pt x="740904" y="275923"/>
                  </a:cubicBezTo>
                  <a:cubicBezTo>
                    <a:pt x="717059" y="275497"/>
                    <a:pt x="717910" y="232065"/>
                    <a:pt x="717910" y="213755"/>
                  </a:cubicBezTo>
                  <a:close/>
                  <a:moveTo>
                    <a:pt x="608904" y="305729"/>
                  </a:moveTo>
                  <a:cubicBezTo>
                    <a:pt x="627213" y="305729"/>
                    <a:pt x="642968" y="298490"/>
                    <a:pt x="657871" y="282735"/>
                  </a:cubicBezTo>
                  <a:lnTo>
                    <a:pt x="644671" y="258039"/>
                  </a:lnTo>
                  <a:cubicBezTo>
                    <a:pt x="634452" y="269110"/>
                    <a:pt x="624233" y="275071"/>
                    <a:pt x="611884" y="275071"/>
                  </a:cubicBezTo>
                  <a:cubicBezTo>
                    <a:pt x="601665" y="275071"/>
                    <a:pt x="593149" y="269110"/>
                    <a:pt x="588039" y="258890"/>
                  </a:cubicBezTo>
                  <a:cubicBezTo>
                    <a:pt x="583781" y="249948"/>
                    <a:pt x="582929" y="239729"/>
                    <a:pt x="582929" y="228658"/>
                  </a:cubicBezTo>
                  <a:lnTo>
                    <a:pt x="582929" y="225252"/>
                  </a:lnTo>
                  <a:lnTo>
                    <a:pt x="659575" y="225252"/>
                  </a:lnTo>
                  <a:lnTo>
                    <a:pt x="659575" y="217587"/>
                  </a:lnTo>
                  <a:cubicBezTo>
                    <a:pt x="659575" y="179690"/>
                    <a:pt x="654891" y="158826"/>
                    <a:pt x="642968" y="143071"/>
                  </a:cubicBezTo>
                  <a:cubicBezTo>
                    <a:pt x="634026" y="131148"/>
                    <a:pt x="620826" y="124761"/>
                    <a:pt x="604645" y="124761"/>
                  </a:cubicBezTo>
                  <a:cubicBezTo>
                    <a:pt x="587613" y="124761"/>
                    <a:pt x="573562" y="132426"/>
                    <a:pt x="563342" y="147329"/>
                  </a:cubicBezTo>
                  <a:cubicBezTo>
                    <a:pt x="552271" y="163510"/>
                    <a:pt x="547587" y="185226"/>
                    <a:pt x="547587" y="215032"/>
                  </a:cubicBezTo>
                  <a:cubicBezTo>
                    <a:pt x="547162" y="272090"/>
                    <a:pt x="569729" y="305729"/>
                    <a:pt x="608904" y="305729"/>
                  </a:cubicBezTo>
                  <a:close/>
                  <a:moveTo>
                    <a:pt x="605071" y="152865"/>
                  </a:moveTo>
                  <a:cubicBezTo>
                    <a:pt x="613587" y="152865"/>
                    <a:pt x="618697" y="157548"/>
                    <a:pt x="622104" y="165213"/>
                  </a:cubicBezTo>
                  <a:cubicBezTo>
                    <a:pt x="624658" y="172026"/>
                    <a:pt x="625936" y="183523"/>
                    <a:pt x="625936" y="197148"/>
                  </a:cubicBezTo>
                  <a:lnTo>
                    <a:pt x="582929" y="197148"/>
                  </a:lnTo>
                  <a:cubicBezTo>
                    <a:pt x="583355" y="166916"/>
                    <a:pt x="589742" y="152865"/>
                    <a:pt x="605071" y="152865"/>
                  </a:cubicBezTo>
                  <a:close/>
                  <a:moveTo>
                    <a:pt x="827342" y="301471"/>
                  </a:moveTo>
                  <a:lnTo>
                    <a:pt x="860555" y="301471"/>
                  </a:lnTo>
                  <a:lnTo>
                    <a:pt x="860555" y="173729"/>
                  </a:lnTo>
                  <a:cubicBezTo>
                    <a:pt x="868646" y="163935"/>
                    <a:pt x="878013" y="158400"/>
                    <a:pt x="884826" y="158400"/>
                  </a:cubicBezTo>
                  <a:cubicBezTo>
                    <a:pt x="889084" y="158400"/>
                    <a:pt x="893342" y="159252"/>
                    <a:pt x="895897" y="162658"/>
                  </a:cubicBezTo>
                  <a:cubicBezTo>
                    <a:pt x="898452" y="166490"/>
                    <a:pt x="899730" y="172026"/>
                    <a:pt x="899730" y="185226"/>
                  </a:cubicBezTo>
                  <a:lnTo>
                    <a:pt x="899730" y="301471"/>
                  </a:lnTo>
                  <a:lnTo>
                    <a:pt x="932942" y="301471"/>
                  </a:lnTo>
                  <a:lnTo>
                    <a:pt x="932942" y="169897"/>
                  </a:lnTo>
                  <a:cubicBezTo>
                    <a:pt x="932942" y="158400"/>
                    <a:pt x="931665" y="146903"/>
                    <a:pt x="924852" y="138387"/>
                  </a:cubicBezTo>
                  <a:cubicBezTo>
                    <a:pt x="918891" y="130723"/>
                    <a:pt x="909523" y="126039"/>
                    <a:pt x="897601" y="126039"/>
                  </a:cubicBezTo>
                  <a:cubicBezTo>
                    <a:pt x="882272" y="126039"/>
                    <a:pt x="866517" y="134981"/>
                    <a:pt x="858000" y="145200"/>
                  </a:cubicBezTo>
                  <a:cubicBezTo>
                    <a:pt x="857575" y="136258"/>
                    <a:pt x="854594" y="127742"/>
                    <a:pt x="853742" y="124761"/>
                  </a:cubicBezTo>
                  <a:lnTo>
                    <a:pt x="822659" y="132852"/>
                  </a:lnTo>
                  <a:cubicBezTo>
                    <a:pt x="824362" y="142219"/>
                    <a:pt x="826917" y="153716"/>
                    <a:pt x="826917" y="174581"/>
                  </a:cubicBezTo>
                  <a:lnTo>
                    <a:pt x="826917" y="301471"/>
                  </a:lnTo>
                  <a:close/>
                  <a:moveTo>
                    <a:pt x="441562" y="145200"/>
                  </a:moveTo>
                  <a:cubicBezTo>
                    <a:pt x="441136" y="136258"/>
                    <a:pt x="438155" y="127742"/>
                    <a:pt x="437304" y="124761"/>
                  </a:cubicBezTo>
                  <a:lnTo>
                    <a:pt x="406220" y="132852"/>
                  </a:lnTo>
                  <a:cubicBezTo>
                    <a:pt x="407923" y="142219"/>
                    <a:pt x="410478" y="153716"/>
                    <a:pt x="410478" y="174581"/>
                  </a:cubicBezTo>
                  <a:lnTo>
                    <a:pt x="410478" y="301045"/>
                  </a:lnTo>
                  <a:lnTo>
                    <a:pt x="443691" y="301045"/>
                  </a:lnTo>
                  <a:lnTo>
                    <a:pt x="443691" y="173303"/>
                  </a:lnTo>
                  <a:cubicBezTo>
                    <a:pt x="451781" y="163510"/>
                    <a:pt x="461149" y="157974"/>
                    <a:pt x="467962" y="157974"/>
                  </a:cubicBezTo>
                  <a:cubicBezTo>
                    <a:pt x="472220" y="157974"/>
                    <a:pt x="476478" y="158826"/>
                    <a:pt x="479033" y="162232"/>
                  </a:cubicBezTo>
                  <a:cubicBezTo>
                    <a:pt x="481587" y="166065"/>
                    <a:pt x="482865" y="171600"/>
                    <a:pt x="482865" y="184800"/>
                  </a:cubicBezTo>
                  <a:lnTo>
                    <a:pt x="482865" y="301045"/>
                  </a:lnTo>
                  <a:lnTo>
                    <a:pt x="516078" y="301045"/>
                  </a:lnTo>
                  <a:lnTo>
                    <a:pt x="516078" y="169897"/>
                  </a:lnTo>
                  <a:cubicBezTo>
                    <a:pt x="516078" y="158400"/>
                    <a:pt x="514800" y="146903"/>
                    <a:pt x="507987" y="138387"/>
                  </a:cubicBezTo>
                  <a:cubicBezTo>
                    <a:pt x="502026" y="130723"/>
                    <a:pt x="492658" y="126039"/>
                    <a:pt x="480736" y="126039"/>
                  </a:cubicBezTo>
                  <a:cubicBezTo>
                    <a:pt x="465833" y="126039"/>
                    <a:pt x="450078" y="134981"/>
                    <a:pt x="441562" y="145200"/>
                  </a:cubicBezTo>
                  <a:close/>
                  <a:moveTo>
                    <a:pt x="35342" y="70684"/>
                  </a:moveTo>
                  <a:cubicBezTo>
                    <a:pt x="54929" y="70684"/>
                    <a:pt x="70684" y="54929"/>
                    <a:pt x="70684" y="35342"/>
                  </a:cubicBezTo>
                  <a:cubicBezTo>
                    <a:pt x="70684" y="15755"/>
                    <a:pt x="54929" y="0"/>
                    <a:pt x="35342" y="0"/>
                  </a:cubicBezTo>
                  <a:cubicBezTo>
                    <a:pt x="15755" y="0"/>
                    <a:pt x="0" y="15755"/>
                    <a:pt x="0" y="35342"/>
                  </a:cubicBezTo>
                  <a:cubicBezTo>
                    <a:pt x="0" y="54929"/>
                    <a:pt x="15755" y="70684"/>
                    <a:pt x="35342" y="70684"/>
                  </a:cubicBezTo>
                  <a:close/>
                  <a:moveTo>
                    <a:pt x="198426" y="301471"/>
                  </a:moveTo>
                  <a:lnTo>
                    <a:pt x="198426" y="169897"/>
                  </a:lnTo>
                  <a:cubicBezTo>
                    <a:pt x="198426" y="158400"/>
                    <a:pt x="197148" y="146903"/>
                    <a:pt x="190336" y="138387"/>
                  </a:cubicBezTo>
                  <a:cubicBezTo>
                    <a:pt x="184374" y="130723"/>
                    <a:pt x="175007" y="126039"/>
                    <a:pt x="163084" y="126039"/>
                  </a:cubicBezTo>
                  <a:cubicBezTo>
                    <a:pt x="147755" y="126039"/>
                    <a:pt x="132000" y="134981"/>
                    <a:pt x="123484" y="145200"/>
                  </a:cubicBezTo>
                  <a:cubicBezTo>
                    <a:pt x="123058" y="136258"/>
                    <a:pt x="120077" y="127742"/>
                    <a:pt x="119226" y="124761"/>
                  </a:cubicBezTo>
                  <a:lnTo>
                    <a:pt x="88568" y="133277"/>
                  </a:lnTo>
                  <a:cubicBezTo>
                    <a:pt x="90271" y="142645"/>
                    <a:pt x="92826" y="154142"/>
                    <a:pt x="92826" y="175006"/>
                  </a:cubicBezTo>
                  <a:lnTo>
                    <a:pt x="92826" y="301471"/>
                  </a:lnTo>
                  <a:lnTo>
                    <a:pt x="126039" y="301471"/>
                  </a:lnTo>
                  <a:lnTo>
                    <a:pt x="126039" y="173729"/>
                  </a:lnTo>
                  <a:cubicBezTo>
                    <a:pt x="134129" y="163935"/>
                    <a:pt x="143497" y="158400"/>
                    <a:pt x="150310" y="158400"/>
                  </a:cubicBezTo>
                  <a:cubicBezTo>
                    <a:pt x="154568" y="158400"/>
                    <a:pt x="158826" y="159252"/>
                    <a:pt x="161381" y="162658"/>
                  </a:cubicBezTo>
                  <a:cubicBezTo>
                    <a:pt x="163936" y="166490"/>
                    <a:pt x="165213" y="172026"/>
                    <a:pt x="165213" y="185226"/>
                  </a:cubicBezTo>
                  <a:lnTo>
                    <a:pt x="165213" y="301471"/>
                  </a:lnTo>
                  <a:lnTo>
                    <a:pt x="198426" y="301471"/>
                  </a:lnTo>
                  <a:close/>
                  <a:moveTo>
                    <a:pt x="351291" y="61316"/>
                  </a:moveTo>
                  <a:cubicBezTo>
                    <a:pt x="338942" y="61316"/>
                    <a:pt x="329149" y="71110"/>
                    <a:pt x="329149" y="83458"/>
                  </a:cubicBezTo>
                  <a:cubicBezTo>
                    <a:pt x="329149" y="95806"/>
                    <a:pt x="338942" y="105600"/>
                    <a:pt x="350865" y="105600"/>
                  </a:cubicBezTo>
                  <a:cubicBezTo>
                    <a:pt x="363213" y="105600"/>
                    <a:pt x="373007" y="95806"/>
                    <a:pt x="373007" y="83458"/>
                  </a:cubicBezTo>
                  <a:cubicBezTo>
                    <a:pt x="373007" y="71110"/>
                    <a:pt x="363213" y="61316"/>
                    <a:pt x="351291" y="61316"/>
                  </a:cubicBezTo>
                  <a:close/>
                  <a:moveTo>
                    <a:pt x="19587" y="301471"/>
                  </a:moveTo>
                  <a:lnTo>
                    <a:pt x="52800" y="301471"/>
                  </a:lnTo>
                  <a:lnTo>
                    <a:pt x="52800" y="94103"/>
                  </a:lnTo>
                  <a:lnTo>
                    <a:pt x="19587" y="98361"/>
                  </a:lnTo>
                  <a:lnTo>
                    <a:pt x="19587" y="301471"/>
                  </a:lnTo>
                  <a:close/>
                  <a:moveTo>
                    <a:pt x="290826" y="81755"/>
                  </a:moveTo>
                  <a:cubicBezTo>
                    <a:pt x="296787" y="81755"/>
                    <a:pt x="302749" y="83884"/>
                    <a:pt x="306581" y="86865"/>
                  </a:cubicBezTo>
                  <a:lnTo>
                    <a:pt x="315949" y="60890"/>
                  </a:lnTo>
                  <a:cubicBezTo>
                    <a:pt x="307007" y="54503"/>
                    <a:pt x="297213" y="51523"/>
                    <a:pt x="284865" y="51523"/>
                  </a:cubicBezTo>
                  <a:cubicBezTo>
                    <a:pt x="276349" y="51523"/>
                    <a:pt x="267407" y="53652"/>
                    <a:pt x="259316" y="60039"/>
                  </a:cubicBezTo>
                  <a:cubicBezTo>
                    <a:pt x="251226" y="66852"/>
                    <a:pt x="242710" y="80477"/>
                    <a:pt x="242710" y="106026"/>
                  </a:cubicBezTo>
                  <a:cubicBezTo>
                    <a:pt x="242710" y="117097"/>
                    <a:pt x="243136" y="128594"/>
                    <a:pt x="243136" y="128594"/>
                  </a:cubicBezTo>
                  <a:lnTo>
                    <a:pt x="231639" y="128594"/>
                  </a:lnTo>
                  <a:lnTo>
                    <a:pt x="231639" y="157974"/>
                  </a:lnTo>
                  <a:lnTo>
                    <a:pt x="243136" y="157974"/>
                  </a:lnTo>
                  <a:lnTo>
                    <a:pt x="243136" y="301045"/>
                  </a:lnTo>
                  <a:lnTo>
                    <a:pt x="277200" y="301045"/>
                  </a:lnTo>
                  <a:lnTo>
                    <a:pt x="277200" y="158400"/>
                  </a:lnTo>
                  <a:lnTo>
                    <a:pt x="302323" y="158400"/>
                  </a:lnTo>
                  <a:lnTo>
                    <a:pt x="308710" y="129019"/>
                  </a:lnTo>
                  <a:lnTo>
                    <a:pt x="277626" y="129019"/>
                  </a:lnTo>
                  <a:lnTo>
                    <a:pt x="277626" y="102619"/>
                  </a:lnTo>
                  <a:cubicBezTo>
                    <a:pt x="277626" y="89845"/>
                    <a:pt x="282736" y="81755"/>
                    <a:pt x="290826" y="81755"/>
                  </a:cubicBezTo>
                  <a:close/>
                  <a:moveTo>
                    <a:pt x="334258" y="301471"/>
                  </a:moveTo>
                  <a:lnTo>
                    <a:pt x="367897" y="301471"/>
                  </a:lnTo>
                  <a:lnTo>
                    <a:pt x="367897" y="126039"/>
                  </a:lnTo>
                  <a:lnTo>
                    <a:pt x="334258" y="130297"/>
                  </a:lnTo>
                  <a:lnTo>
                    <a:pt x="334258" y="301471"/>
                  </a:lnTo>
                  <a:close/>
                </a:path>
              </a:pathLst>
            </a:custGeom>
            <a:solidFill>
              <a:srgbClr val="005DA9"/>
            </a:solidFill>
            <a:ln w="42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B3DFC8B-687C-41DA-A4C3-866145B61F3A}"/>
                </a:ext>
              </a:extLst>
            </p:cNvPr>
            <p:cNvSpPr/>
            <p:nvPr/>
          </p:nvSpPr>
          <p:spPr>
            <a:xfrm>
              <a:off x="10659752" y="193689"/>
              <a:ext cx="1206736" cy="528057"/>
            </a:xfrm>
            <a:custGeom>
              <a:avLst/>
              <a:gdLst>
                <a:gd name="connsiteX0" fmla="*/ 1024065 w 1206736"/>
                <a:gd name="connsiteY0" fmla="*/ 444872 h 528057"/>
                <a:gd name="connsiteX1" fmla="*/ 641265 w 1206736"/>
                <a:gd name="connsiteY1" fmla="*/ 492562 h 528057"/>
                <a:gd name="connsiteX2" fmla="*/ 67703 w 1206736"/>
                <a:gd name="connsiteY2" fmla="*/ 261349 h 528057"/>
                <a:gd name="connsiteX3" fmla="*/ 165639 w 1206736"/>
                <a:gd name="connsiteY3" fmla="*/ 122962 h 528057"/>
                <a:gd name="connsiteX4" fmla="*/ 146478 w 1206736"/>
                <a:gd name="connsiteY4" fmla="*/ 85491 h 528057"/>
                <a:gd name="connsiteX5" fmla="*/ 0 w 1206736"/>
                <a:gd name="connsiteY5" fmla="*/ 265181 h 528057"/>
                <a:gd name="connsiteX6" fmla="*/ 644671 w 1206736"/>
                <a:gd name="connsiteY6" fmla="*/ 527904 h 528057"/>
                <a:gd name="connsiteX7" fmla="*/ 992130 w 1206736"/>
                <a:gd name="connsiteY7" fmla="*/ 473826 h 528057"/>
                <a:gd name="connsiteX8" fmla="*/ 1206736 w 1206736"/>
                <a:gd name="connsiteY8" fmla="*/ 353749 h 528057"/>
                <a:gd name="connsiteX9" fmla="*/ 1024065 w 1206736"/>
                <a:gd name="connsiteY9" fmla="*/ 444872 h 528057"/>
                <a:gd name="connsiteX10" fmla="*/ 309136 w 1206736"/>
                <a:gd name="connsiteY10" fmla="*/ 58239 h 528057"/>
                <a:gd name="connsiteX11" fmla="*/ 363639 w 1206736"/>
                <a:gd name="connsiteY11" fmla="*/ 40781 h 528057"/>
                <a:gd name="connsiteX12" fmla="*/ 645097 w 1206736"/>
                <a:gd name="connsiteY12" fmla="*/ 2459 h 528057"/>
                <a:gd name="connsiteX13" fmla="*/ 356826 w 1206736"/>
                <a:gd name="connsiteY13" fmla="*/ 17788 h 528057"/>
                <a:gd name="connsiteX14" fmla="*/ 298490 w 1206736"/>
                <a:gd name="connsiteY14" fmla="*/ 30136 h 528057"/>
                <a:gd name="connsiteX15" fmla="*/ 275071 w 1206736"/>
                <a:gd name="connsiteY15" fmla="*/ 36523 h 528057"/>
                <a:gd name="connsiteX16" fmla="*/ 253781 w 1206736"/>
                <a:gd name="connsiteY16" fmla="*/ 42484 h 528057"/>
                <a:gd name="connsiteX17" fmla="*/ 228232 w 1206736"/>
                <a:gd name="connsiteY17" fmla="*/ 51001 h 528057"/>
                <a:gd name="connsiteX18" fmla="*/ 242284 w 1206736"/>
                <a:gd name="connsiteY18" fmla="*/ 83362 h 528057"/>
                <a:gd name="connsiteX19" fmla="*/ 309136 w 1206736"/>
                <a:gd name="connsiteY19" fmla="*/ 58239 h 528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06736" h="528057">
                  <a:moveTo>
                    <a:pt x="1024065" y="444872"/>
                  </a:moveTo>
                  <a:cubicBezTo>
                    <a:pt x="911652" y="478085"/>
                    <a:pt x="774968" y="492562"/>
                    <a:pt x="641265" y="492562"/>
                  </a:cubicBezTo>
                  <a:cubicBezTo>
                    <a:pt x="301897" y="492562"/>
                    <a:pt x="83032" y="392923"/>
                    <a:pt x="67703" y="261349"/>
                  </a:cubicBezTo>
                  <a:cubicBezTo>
                    <a:pt x="62168" y="211955"/>
                    <a:pt x="100916" y="163839"/>
                    <a:pt x="165639" y="122962"/>
                  </a:cubicBezTo>
                  <a:cubicBezTo>
                    <a:pt x="154142" y="114446"/>
                    <a:pt x="146903" y="100820"/>
                    <a:pt x="146478" y="85491"/>
                  </a:cubicBezTo>
                  <a:cubicBezTo>
                    <a:pt x="52800" y="134885"/>
                    <a:pt x="0" y="199607"/>
                    <a:pt x="0" y="265181"/>
                  </a:cubicBezTo>
                  <a:cubicBezTo>
                    <a:pt x="0" y="410381"/>
                    <a:pt x="259316" y="533014"/>
                    <a:pt x="644671" y="527904"/>
                  </a:cubicBezTo>
                  <a:cubicBezTo>
                    <a:pt x="778800" y="526201"/>
                    <a:pt x="890788" y="507039"/>
                    <a:pt x="992130" y="473826"/>
                  </a:cubicBezTo>
                  <a:cubicBezTo>
                    <a:pt x="1112633" y="434652"/>
                    <a:pt x="1188427" y="378446"/>
                    <a:pt x="1206736" y="353749"/>
                  </a:cubicBezTo>
                  <a:cubicBezTo>
                    <a:pt x="1185020" y="373336"/>
                    <a:pt x="1133498" y="412510"/>
                    <a:pt x="1024065" y="444872"/>
                  </a:cubicBezTo>
                  <a:close/>
                  <a:moveTo>
                    <a:pt x="309136" y="58239"/>
                  </a:moveTo>
                  <a:cubicBezTo>
                    <a:pt x="331703" y="50575"/>
                    <a:pt x="363639" y="40781"/>
                    <a:pt x="363639" y="40781"/>
                  </a:cubicBezTo>
                  <a:cubicBezTo>
                    <a:pt x="453484" y="16084"/>
                    <a:pt x="552697" y="1607"/>
                    <a:pt x="645097" y="2459"/>
                  </a:cubicBezTo>
                  <a:cubicBezTo>
                    <a:pt x="538645" y="-3928"/>
                    <a:pt x="441562" y="2459"/>
                    <a:pt x="356826" y="17788"/>
                  </a:cubicBezTo>
                  <a:cubicBezTo>
                    <a:pt x="356826" y="17788"/>
                    <a:pt x="328723" y="22472"/>
                    <a:pt x="298490" y="30136"/>
                  </a:cubicBezTo>
                  <a:cubicBezTo>
                    <a:pt x="298490" y="30136"/>
                    <a:pt x="284013" y="33968"/>
                    <a:pt x="275071" y="36523"/>
                  </a:cubicBezTo>
                  <a:cubicBezTo>
                    <a:pt x="266129" y="39078"/>
                    <a:pt x="253781" y="42484"/>
                    <a:pt x="253781" y="42484"/>
                  </a:cubicBezTo>
                  <a:cubicBezTo>
                    <a:pt x="245265" y="45039"/>
                    <a:pt x="236749" y="48020"/>
                    <a:pt x="228232" y="51001"/>
                  </a:cubicBezTo>
                  <a:cubicBezTo>
                    <a:pt x="236749" y="59517"/>
                    <a:pt x="241858" y="70588"/>
                    <a:pt x="242284" y="83362"/>
                  </a:cubicBezTo>
                  <a:cubicBezTo>
                    <a:pt x="257187" y="76549"/>
                    <a:pt x="285716" y="66330"/>
                    <a:pt x="309136" y="58239"/>
                  </a:cubicBezTo>
                  <a:close/>
                </a:path>
              </a:pathLst>
            </a:custGeom>
            <a:solidFill>
              <a:srgbClr val="E30034"/>
            </a:solidFill>
            <a:ln w="42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3" name="empower - DO NOT DELETE!!!" hidden="1"/>
          <p:cNvSpPr/>
          <p:nvPr userDrawn="1">
            <p:custDataLst>
              <p:tags r:id="rId28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087355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1200" kern="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1200" kern="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52" r:id="rId4"/>
    <p:sldLayoutId id="2147483729" r:id="rId5"/>
    <p:sldLayoutId id="2147483730" r:id="rId6"/>
    <p:sldLayoutId id="2147483741" r:id="rId7"/>
    <p:sldLayoutId id="2147483731" r:id="rId8"/>
    <p:sldLayoutId id="2147483747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  <p:sldLayoutId id="2147483739" r:id="rId17"/>
    <p:sldLayoutId id="2147483754" r:id="rId18"/>
    <p:sldLayoutId id="2147483753" r:id="rId19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1800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›"/>
        <a:defRPr sz="2000" baseline="0">
          <a:solidFill>
            <a:schemeClr val="tx1"/>
          </a:solidFill>
          <a:latin typeface="+mn-lt"/>
          <a:ea typeface="+mn-ea"/>
          <a:cs typeface="+mn-cs"/>
        </a:defRPr>
      </a:lvl1pPr>
      <a:lvl2pPr marL="450000" indent="-27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Verdana" panose="020B0604030504040204" pitchFamily="34" charset="0"/>
        <a:buChar char="–"/>
        <a:defRPr sz="2000">
          <a:solidFill>
            <a:schemeClr val="tx1"/>
          </a:solidFill>
          <a:latin typeface="+mn-lt"/>
          <a:cs typeface="+mn-cs"/>
        </a:defRPr>
      </a:lvl2pPr>
      <a:lvl3pPr marL="6300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800" baseline="0">
          <a:solidFill>
            <a:schemeClr val="tx1"/>
          </a:solidFill>
          <a:latin typeface="+mn-lt"/>
          <a:cs typeface="+mn-cs"/>
        </a:defRPr>
      </a:lvl3pPr>
      <a:lvl4pPr marL="802800" indent="-1728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600" baseline="0">
          <a:solidFill>
            <a:schemeClr val="tx1"/>
          </a:solidFill>
          <a:latin typeface="+mn-lt"/>
          <a:cs typeface="+mn-cs"/>
        </a:defRPr>
      </a:lvl4pPr>
      <a:lvl5pPr marL="9828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400" baseline="0">
          <a:solidFill>
            <a:schemeClr val="tx1"/>
          </a:solidFill>
          <a:latin typeface="+mn-lt"/>
          <a:cs typeface="+mn-cs"/>
        </a:defRPr>
      </a:lvl5pPr>
      <a:lvl6pPr marL="9828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–"/>
        <a:defRPr sz="1400" baseline="0">
          <a:solidFill>
            <a:schemeClr val="tx1"/>
          </a:solidFill>
          <a:latin typeface="+mn-lt"/>
          <a:cs typeface="+mn-cs"/>
        </a:defRPr>
      </a:lvl6pPr>
      <a:lvl7pPr marL="982800" indent="-180000" algn="l" defTabSz="576000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7pPr>
      <a:lvl8pPr marL="982800" indent="-180000" algn="l" defTabSz="576000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8pPr>
      <a:lvl9pPr marL="982800" indent="-180000" algn="l" defTabSz="576000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jpe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test.mosquitto.org/ssl/" TargetMode="Externa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hyperlink" Target="http://test.mosquitto.org/ssl/mosquitto.org.crt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Smart home 2">
            <a:extLst>
              <a:ext uri="{FF2B5EF4-FFF2-40B4-BE49-F238E27FC236}">
                <a16:creationId xmlns:a16="http://schemas.microsoft.com/office/drawing/2014/main" id="{24F4DEAA-DC92-4392-9C4E-35727AAD3903}"/>
              </a:ext>
            </a:extLst>
          </p:cNvPr>
          <p:cNvPicPr>
            <a:picLocks noGrp="1" noChangeAspect="1"/>
          </p:cNvPicPr>
          <p:nvPr>
            <p:ph type="pic" sz="quarter" idx="18"/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40" b="12540"/>
          <a:stretch>
            <a:fillRect/>
          </a:stretch>
        </p:blipFill>
        <p:spPr>
          <a:xfrm>
            <a:off x="0" y="1"/>
            <a:ext cx="12193410" cy="5138663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435EC944-2DCE-42DB-B532-AE9AF072BD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392" y="5949280"/>
            <a:ext cx="8280000" cy="612000"/>
          </a:xfrm>
        </p:spPr>
        <p:txBody>
          <a:bodyPr/>
          <a:lstStyle/>
          <a:p>
            <a:endParaRPr lang="en-SG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A8222DC-8922-4D99-9254-086910AD42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994" y="5218956"/>
            <a:ext cx="8280000" cy="647700"/>
          </a:xfrm>
        </p:spPr>
        <p:txBody>
          <a:bodyPr/>
          <a:lstStyle/>
          <a:p>
            <a:r>
              <a:rPr lang="en-SG" dirty="0"/>
              <a:t>PSoC6 WIFI Hands On Training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B978F7-E201-449B-9BB3-DAC2543DB91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3EA052-4430-4977-B3B2-F483A6039C5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81963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ED87ED0-C223-47BA-8FC1-7486828F48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800" y="1268414"/>
            <a:ext cx="5401160" cy="3888777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SG" dirty="0"/>
              <a:t>Copy the 3 files (</a:t>
            </a:r>
            <a:r>
              <a:rPr lang="en-SG" dirty="0" err="1"/>
              <a:t>main.c</a:t>
            </a:r>
            <a:r>
              <a:rPr lang="en-SG" dirty="0"/>
              <a:t>, </a:t>
            </a:r>
            <a:r>
              <a:rPr lang="en-SG" dirty="0" err="1"/>
              <a:t>wifi_config.h</a:t>
            </a:r>
            <a:r>
              <a:rPr lang="en-SG" dirty="0"/>
              <a:t> and </a:t>
            </a:r>
            <a:r>
              <a:rPr lang="en-SG" dirty="0" err="1"/>
              <a:t>makefile</a:t>
            </a:r>
            <a:r>
              <a:rPr lang="en-SG" dirty="0"/>
              <a:t>) from </a:t>
            </a:r>
            <a:r>
              <a:rPr lang="en-SG" b="1" dirty="0"/>
              <a:t>…</a:t>
            </a:r>
            <a:r>
              <a:rPr lang="en-US" b="1" dirty="0"/>
              <a:t>HOT_EXE\02 PSoC6 WIFI\</a:t>
            </a:r>
            <a:r>
              <a:rPr lang="en-US" b="1" dirty="0" err="1"/>
              <a:t>HOT_WiFi_Connect</a:t>
            </a:r>
            <a:r>
              <a:rPr lang="en-US" b="1" dirty="0"/>
              <a:t> </a:t>
            </a:r>
            <a:r>
              <a:rPr lang="en-US" dirty="0"/>
              <a:t>into </a:t>
            </a:r>
            <a:r>
              <a:rPr lang="en-SG" dirty="0"/>
              <a:t>your root project directory. </a:t>
            </a:r>
          </a:p>
          <a:p>
            <a:pPr marL="342900" indent="-342900">
              <a:buFont typeface="+mj-lt"/>
              <a:buAutoNum type="arabicPeriod"/>
            </a:pPr>
            <a:endParaRPr lang="en-SG" sz="1800" dirty="0"/>
          </a:p>
          <a:p>
            <a:pPr marL="342900" indent="-342900">
              <a:buFont typeface="+mj-lt"/>
              <a:buAutoNum type="arabicPeriod"/>
            </a:pPr>
            <a:r>
              <a:rPr lang="en-SG" sz="1800" dirty="0"/>
              <a:t>Edit WIFI_SSID and WIFI_PASSWORD to join to your AP (mobile hot spot)</a:t>
            </a:r>
          </a:p>
          <a:p>
            <a:pPr marL="850050" lvl="2" indent="-400050">
              <a:buFont typeface="+mj-lt"/>
              <a:buAutoNum type="romanLcPeriod"/>
            </a:pPr>
            <a:r>
              <a:rPr lang="en-SG" sz="1600" dirty="0"/>
              <a:t>#define WIFI_SSID “</a:t>
            </a:r>
            <a:r>
              <a:rPr lang="en-SG" sz="1600" dirty="0" err="1"/>
              <a:t>MyHotSpot</a:t>
            </a:r>
            <a:r>
              <a:rPr lang="en-SG" sz="1600" dirty="0"/>
              <a:t>”</a:t>
            </a:r>
          </a:p>
          <a:p>
            <a:pPr marL="850050" lvl="2" indent="-400050">
              <a:buFont typeface="+mj-lt"/>
              <a:buAutoNum type="romanLcPeriod"/>
            </a:pPr>
            <a:r>
              <a:rPr lang="en-SG" sz="1600" dirty="0"/>
              <a:t>#define WIFI_PASSWORD “</a:t>
            </a:r>
            <a:r>
              <a:rPr lang="en-SG" sz="1600" dirty="0" err="1"/>
              <a:t>MyPassword</a:t>
            </a:r>
            <a:r>
              <a:rPr lang="en-SG" sz="1600" dirty="0"/>
              <a:t>”</a:t>
            </a:r>
          </a:p>
          <a:p>
            <a:endParaRPr lang="en-SG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58E811F-63AF-47DF-B835-E82A9224FC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py and Edit files</a:t>
            </a:r>
            <a:endParaRPr lang="en-SG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C96E9D-3362-4205-98C3-2291C2EA0D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F3F72E-6FFA-4081-B3DE-67F9DD4264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8792FCC-5E64-4EFE-8364-983872354F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4878" y="945505"/>
            <a:ext cx="3258867" cy="172472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2287581-1ABB-4348-AF5F-61F69387CDF4}"/>
              </a:ext>
            </a:extLst>
          </p:cNvPr>
          <p:cNvSpPr/>
          <p:nvPr/>
        </p:nvSpPr>
        <p:spPr>
          <a:xfrm>
            <a:off x="5879976" y="2707013"/>
            <a:ext cx="6048672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SG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#</a:t>
            </a:r>
            <a:r>
              <a:rPr lang="en-SG" sz="1200" b="1" dirty="0" err="1">
                <a:solidFill>
                  <a:srgbClr val="7F0055"/>
                </a:solidFill>
                <a:latin typeface="Consolas" panose="020B0609020204030204" pitchFamily="49" charset="0"/>
              </a:rPr>
              <a:t>ifndef</a:t>
            </a:r>
            <a:r>
              <a:rPr lang="en-SG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WIFI_CONFIG_H_</a:t>
            </a:r>
          </a:p>
          <a:p>
            <a:r>
              <a:rPr lang="en-SG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#define</a:t>
            </a:r>
            <a:r>
              <a:rPr lang="en-SG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WIFI_CONFIG_H_</a:t>
            </a:r>
          </a:p>
          <a:p>
            <a:endParaRPr lang="en-SG" sz="1200" dirty="0">
              <a:latin typeface="Consolas" panose="020B0609020204030204" pitchFamily="49" charset="0"/>
            </a:endParaRPr>
          </a:p>
          <a:p>
            <a:r>
              <a:rPr lang="en-SG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#include</a:t>
            </a:r>
            <a:r>
              <a:rPr lang="en-SG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SG" sz="1200" b="1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  <a:r>
              <a:rPr lang="en-SG" sz="1200" b="1" dirty="0" err="1">
                <a:solidFill>
                  <a:srgbClr val="2A00FF"/>
                </a:solidFill>
                <a:latin typeface="Consolas" panose="020B0609020204030204" pitchFamily="49" charset="0"/>
              </a:rPr>
              <a:t>cy_wcm.h</a:t>
            </a:r>
            <a:r>
              <a:rPr lang="en-SG" sz="1200" b="1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</a:p>
          <a:p>
            <a:r>
              <a:rPr lang="en-US" sz="1200" dirty="0">
                <a:solidFill>
                  <a:srgbClr val="3F7F5F"/>
                </a:solidFill>
                <a:latin typeface="Consolas" panose="020B0609020204030204" pitchFamily="49" charset="0"/>
              </a:rPr>
              <a:t>/* SSID of the Wi-Fi Access Point to which the MQTT client connects. */</a:t>
            </a:r>
          </a:p>
          <a:p>
            <a:r>
              <a:rPr lang="en-SG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#define</a:t>
            </a:r>
            <a:r>
              <a:rPr lang="en-SG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WIFI_SSID </a:t>
            </a:r>
            <a:r>
              <a:rPr lang="en-SG" sz="1200" b="1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  <a:r>
              <a:rPr lang="en-SG" sz="1200" b="1" u="sng" dirty="0" err="1">
                <a:solidFill>
                  <a:srgbClr val="2A00FF"/>
                </a:solidFill>
                <a:latin typeface="Consolas" panose="020B0609020204030204" pitchFamily="49" charset="0"/>
              </a:rPr>
              <a:t>xxxxxxxx</a:t>
            </a:r>
            <a:r>
              <a:rPr lang="en-SG" sz="1200" b="1" u="sng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</a:p>
          <a:p>
            <a:r>
              <a:rPr lang="en-US" sz="1200" dirty="0">
                <a:solidFill>
                  <a:srgbClr val="3F7F5F"/>
                </a:solidFill>
                <a:latin typeface="Consolas" panose="020B0609020204030204" pitchFamily="49" charset="0"/>
              </a:rPr>
              <a:t>/* </a:t>
            </a:r>
            <a:r>
              <a:rPr lang="en-US" sz="1200" u="sng" dirty="0">
                <a:solidFill>
                  <a:srgbClr val="3F7F5F"/>
                </a:solidFill>
                <a:latin typeface="Consolas" panose="020B0609020204030204" pitchFamily="49" charset="0"/>
              </a:rPr>
              <a:t>Passkey of the above mentioned Wi-Fi SSID. */</a:t>
            </a:r>
          </a:p>
          <a:p>
            <a:r>
              <a:rPr lang="en-SG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#define</a:t>
            </a:r>
            <a:r>
              <a:rPr lang="en-SG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WIFI_PASSWORD </a:t>
            </a:r>
            <a:r>
              <a:rPr lang="en-SG" sz="1200" b="1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  <a:r>
              <a:rPr lang="en-SG" sz="1200" b="1" u="sng" dirty="0" err="1">
                <a:solidFill>
                  <a:srgbClr val="2A00FF"/>
                </a:solidFill>
                <a:latin typeface="Consolas" panose="020B0609020204030204" pitchFamily="49" charset="0"/>
              </a:rPr>
              <a:t>xxxxxxxx</a:t>
            </a:r>
            <a:r>
              <a:rPr lang="en-SG" sz="1200" b="1" u="sng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</a:p>
          <a:p>
            <a:r>
              <a:rPr lang="en-US" sz="1200" dirty="0">
                <a:solidFill>
                  <a:srgbClr val="3F7F5F"/>
                </a:solidFill>
                <a:latin typeface="Consolas" panose="020B0609020204030204" pitchFamily="49" charset="0"/>
              </a:rPr>
              <a:t>/* Security type of the Wi-Fi access point. See '</a:t>
            </a:r>
            <a:r>
              <a:rPr lang="en-US" sz="1200" dirty="0" err="1">
                <a:solidFill>
                  <a:srgbClr val="3F7F5F"/>
                </a:solidFill>
                <a:latin typeface="Consolas" panose="020B0609020204030204" pitchFamily="49" charset="0"/>
              </a:rPr>
              <a:t>cy_wcm_security_t</a:t>
            </a:r>
            <a:r>
              <a:rPr lang="en-US" sz="1200" dirty="0">
                <a:solidFill>
                  <a:srgbClr val="3F7F5F"/>
                </a:solidFill>
                <a:latin typeface="Consolas" panose="020B0609020204030204" pitchFamily="49" charset="0"/>
              </a:rPr>
              <a:t>' structure</a:t>
            </a:r>
          </a:p>
          <a:p>
            <a:r>
              <a:rPr lang="en-US" sz="1200" dirty="0">
                <a:solidFill>
                  <a:srgbClr val="3F7F5F"/>
                </a:solidFill>
                <a:latin typeface="Consolas" panose="020B0609020204030204" pitchFamily="49" charset="0"/>
              </a:rPr>
              <a:t>* in "</a:t>
            </a:r>
            <a:r>
              <a:rPr lang="en-US" sz="1200" dirty="0" err="1">
                <a:solidFill>
                  <a:srgbClr val="3F7F5F"/>
                </a:solidFill>
                <a:latin typeface="Consolas" panose="020B0609020204030204" pitchFamily="49" charset="0"/>
              </a:rPr>
              <a:t>cy_wcm.h</a:t>
            </a:r>
            <a:r>
              <a:rPr lang="en-US" sz="1200" dirty="0">
                <a:solidFill>
                  <a:srgbClr val="3F7F5F"/>
                </a:solidFill>
                <a:latin typeface="Consolas" panose="020B0609020204030204" pitchFamily="49" charset="0"/>
              </a:rPr>
              <a:t>" for more details. */</a:t>
            </a:r>
          </a:p>
          <a:p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#define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WIFI_SECURITY CY_WCM_SECURITY_WPA2_AES_PSK</a:t>
            </a:r>
          </a:p>
          <a:p>
            <a:r>
              <a:rPr lang="en-SG" sz="1200" dirty="0">
                <a:solidFill>
                  <a:srgbClr val="3F7F5F"/>
                </a:solidFill>
                <a:latin typeface="Consolas" panose="020B0609020204030204" pitchFamily="49" charset="0"/>
              </a:rPr>
              <a:t>/* Maximum Wi-Fi re-connection limit. */</a:t>
            </a:r>
          </a:p>
          <a:p>
            <a:r>
              <a:rPr lang="it-IT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#define</a:t>
            </a:r>
            <a:r>
              <a:rPr lang="it-IT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MAX_WIFI_CONN_RETRIES (10u)</a:t>
            </a:r>
          </a:p>
          <a:p>
            <a:r>
              <a:rPr lang="en-US" sz="1200" dirty="0">
                <a:solidFill>
                  <a:srgbClr val="3F7F5F"/>
                </a:solidFill>
                <a:latin typeface="Consolas" panose="020B0609020204030204" pitchFamily="49" charset="0"/>
              </a:rPr>
              <a:t>/* Wi-Fi re-connection time interval in milliseconds. */</a:t>
            </a:r>
          </a:p>
          <a:p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#define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WIFI_CONN_RETRY_INTERVAL_MS (2000)</a:t>
            </a:r>
          </a:p>
          <a:p>
            <a:endParaRPr lang="en-SG" dirty="0">
              <a:latin typeface="Consolas" panose="020B0609020204030204" pitchFamily="49" charset="0"/>
            </a:endParaRPr>
          </a:p>
          <a:p>
            <a:r>
              <a:rPr lang="en-SG" b="1" dirty="0">
                <a:solidFill>
                  <a:srgbClr val="7F0055"/>
                </a:solidFill>
                <a:latin typeface="Consolas" panose="020B0609020204030204" pitchFamily="49" charset="0"/>
              </a:rPr>
              <a:t>#endif</a:t>
            </a:r>
            <a:r>
              <a:rPr lang="en-SG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SG" b="1" dirty="0">
                <a:solidFill>
                  <a:srgbClr val="3F7F5F"/>
                </a:solidFill>
                <a:latin typeface="Consolas" panose="020B0609020204030204" pitchFamily="49" charset="0"/>
              </a:rPr>
              <a:t>/* WIFI_CONFIG_H_ */</a:t>
            </a:r>
            <a:endParaRPr lang="en-SG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F531279-B670-49B8-9FB5-28D99C6CDD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3632" y="4288569"/>
            <a:ext cx="1598797" cy="173724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B1E8C40-736A-49A0-BED3-D58F8D19A8AC}"/>
              </a:ext>
            </a:extLst>
          </p:cNvPr>
          <p:cNvCxnSpPr/>
          <p:nvPr/>
        </p:nvCxnSpPr>
        <p:spPr>
          <a:xfrm flipV="1">
            <a:off x="1019436" y="1254503"/>
            <a:ext cx="10153128" cy="4608512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97891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5E2B661-41ED-4890-8316-4B51CCB015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</a:lvl1pPr>
            <a:lvl2pPr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</a:lvl2pPr>
            <a:lvl3pPr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</a:lvl3pPr>
            <a:lvl4pPr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</a:lvl4pPr>
            <a:lvl5pPr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</a:lvl5pPr>
            <a:lvl6pPr>
              <a:buClr>
                <a:schemeClr val="accent1"/>
              </a:buClr>
              <a:buFont typeface="Arial" panose="020B0604020202020204" pitchFamily="34" charset="0"/>
              <a:buChar char="–"/>
            </a:lvl6pPr>
            <a:lvl7pPr>
              <a:buClr>
                <a:schemeClr val="accent1"/>
              </a:buClr>
              <a:buFont typeface="Arial" panose="020B0604020202020204" pitchFamily="34" charset="0"/>
              <a:buChar char="–"/>
            </a:lvl7pPr>
            <a:lvl8pPr>
              <a:buClr>
                <a:schemeClr val="accent1"/>
              </a:buClr>
              <a:buFont typeface="Arial" panose="020B0604020202020204" pitchFamily="34" charset="0"/>
              <a:buChar char="–"/>
            </a:lvl8pPr>
            <a:lvl9pPr>
              <a:buClr>
                <a:schemeClr val="accent1"/>
              </a:buClr>
              <a:buFont typeface="Arial" panose="020B0604020202020204" pitchFamily="34" charset="0"/>
              <a:buChar char="–"/>
            </a:lvl9pPr>
          </a:lstStyle>
          <a:p>
            <a:endParaRPr lang="en-SG" sz="1600" dirty="0"/>
          </a:p>
          <a:p>
            <a:r>
              <a:rPr lang="en-SG" sz="1600" dirty="0"/>
              <a:t>Build and run the program</a:t>
            </a:r>
          </a:p>
          <a:p>
            <a:endParaRPr lang="en-SG" sz="1600" dirty="0"/>
          </a:p>
          <a:p>
            <a:r>
              <a:rPr lang="en-SG" sz="1600" dirty="0"/>
              <a:t>Open Tera Term, 115200 baud rate, turn on mobile hot spot</a:t>
            </a:r>
          </a:p>
          <a:p>
            <a:endParaRPr lang="en-SG" sz="1600" dirty="0"/>
          </a:p>
          <a:p>
            <a:r>
              <a:rPr lang="en-SG" sz="1600" dirty="0"/>
              <a:t>Device will try up to 10 times to connect to network.</a:t>
            </a:r>
          </a:p>
          <a:p>
            <a:endParaRPr lang="en-SG" sz="1600" dirty="0"/>
          </a:p>
          <a:p>
            <a:r>
              <a:rPr lang="en-SG" sz="1600" dirty="0"/>
              <a:t>UART terminal display “Successfully connected to Wi-Fi network ‘</a:t>
            </a:r>
            <a:r>
              <a:rPr lang="en-SG" sz="1600" dirty="0" err="1"/>
              <a:t>my_network</a:t>
            </a:r>
            <a:r>
              <a:rPr lang="en-SG" sz="1600" dirty="0"/>
              <a:t>’ if device connects to network.</a:t>
            </a:r>
          </a:p>
          <a:p>
            <a:endParaRPr lang="en-SG" dirty="0"/>
          </a:p>
          <a:p>
            <a:pPr marL="0" indent="0">
              <a:buNone/>
            </a:pPr>
            <a:endParaRPr lang="en-SG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980D1B7-B71A-436D-9354-ABD1567DF0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t and Run the program</a:t>
            </a:r>
            <a:endParaRPr lang="en-SG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FA38AB-C077-413A-A126-11F6E4776A8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F29495-5A75-4415-8A26-A870B9A55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422C704-EBFF-4961-9E51-B4EB70E900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416" y="3573016"/>
            <a:ext cx="10441157" cy="2088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8459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BD7BE7-E8F6-4404-90CE-2F6D2B025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Secure TCP connec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1BCE77-3531-457B-B72F-599A3F7CDE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3F82A8-C55E-4BDB-AB22-A1A093E9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0660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5D7C61-8A41-4E18-BAE5-907A534F4E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Secure TCP connec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CB29B49-A83D-4019-9836-296C6FBF0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915316-3B25-4036-ADF6-AAE560182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25C6C-614A-4D70-B313-7ADCEE25F184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AFC42FB-0593-4063-ACCF-D31BD07905E7}"/>
              </a:ext>
            </a:extLst>
          </p:cNvPr>
          <p:cNvSpPr txBox="1"/>
          <p:nvPr/>
        </p:nvSpPr>
        <p:spPr bwMode="auto">
          <a:xfrm>
            <a:off x="322858" y="1664804"/>
            <a:ext cx="5845149" cy="478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noAutofit/>
          </a:bodyPr>
          <a:lstStyle/>
          <a:p>
            <a:pPr marL="342900" marR="0" indent="-34290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</a:pPr>
            <a:r>
              <a:rPr lang="en-SG" kern="0" dirty="0">
                <a:latin typeface="+mn-lt"/>
              </a:rPr>
              <a:t>Find a partner. One to create new application “Wi-F Secure TCP server” and the other “Wi-Fi Secure TCP client”</a:t>
            </a:r>
          </a:p>
          <a:p>
            <a:pPr marL="342900" marR="0" indent="-34290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</a:pPr>
            <a:endParaRPr lang="en-SG" kern="0" dirty="0">
              <a:latin typeface="+mn-lt"/>
            </a:endParaRPr>
          </a:p>
          <a:p>
            <a:pPr marL="342900" indent="-34290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</a:pPr>
            <a:r>
              <a:rPr lang="en-US" kern="0" dirty="0"/>
              <a:t>For Secure TCP server, edit the following in </a:t>
            </a:r>
            <a:r>
              <a:rPr lang="en-US" kern="0" dirty="0" err="1"/>
              <a:t>network_credential.h</a:t>
            </a:r>
            <a:r>
              <a:rPr lang="en-US" kern="0" dirty="0"/>
              <a:t> </a:t>
            </a:r>
          </a:p>
          <a:p>
            <a:pPr marL="1009635" lvl="1" indent="-40005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romanLcPeriod"/>
            </a:pPr>
            <a:r>
              <a:rPr lang="en-US" kern="0" dirty="0"/>
              <a:t>set #define USE_AP_INTERFACE  to 1</a:t>
            </a:r>
          </a:p>
          <a:p>
            <a:pPr marL="1009635" lvl="1" indent="-40005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romanLcPeriod"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edit #define SOFTAP_SSID</a:t>
            </a:r>
          </a:p>
          <a:p>
            <a:pPr marL="1009635" lvl="1" indent="-40005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romanLcPeriod"/>
            </a:pPr>
            <a:r>
              <a:rPr lang="en-US" kern="0" dirty="0">
                <a:latin typeface="+mn-lt"/>
              </a:rPr>
              <a:t>Edit #define </a:t>
            </a:r>
            <a:r>
              <a:rPr lang="en-US" kern="0" baseline="0" dirty="0">
                <a:latin typeface="+mn-lt"/>
                <a:ea typeface="+mn-ea"/>
                <a:cs typeface="+mn-cs"/>
              </a:rPr>
              <a:t>SOFTAP_PASSWORD</a:t>
            </a:r>
          </a:p>
          <a:p>
            <a:pPr lvl="1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US" kern="0" dirty="0">
                <a:latin typeface="+mn-lt"/>
              </a:rPr>
              <a:t>Note: For TCP Server, please use a unique SSID. TCP Server also acts as access point.</a:t>
            </a:r>
            <a:endParaRPr lang="en-US" kern="0" baseline="0" dirty="0">
              <a:latin typeface="+mn-lt"/>
              <a:ea typeface="+mn-ea"/>
              <a:cs typeface="+mn-cs"/>
            </a:endParaRPr>
          </a:p>
          <a:p>
            <a:pPr marL="1009635" lvl="1" indent="-40005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romanLcPeriod"/>
            </a:pPr>
            <a:endParaRPr lang="en-SG" kern="0" baseline="0" dirty="0">
              <a:latin typeface="+mn-lt"/>
              <a:ea typeface="+mn-ea"/>
              <a:cs typeface="+mn-cs"/>
            </a:endParaRPr>
          </a:p>
          <a:p>
            <a:pPr marL="342900" marR="0" indent="-34290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</a:pPr>
            <a:r>
              <a:rPr lang="en-SG" kern="0" dirty="0">
                <a:latin typeface="+mn-lt"/>
              </a:rPr>
              <a:t>For Secure TCP client, edit the following in </a:t>
            </a:r>
            <a:r>
              <a:rPr lang="en-SG" kern="0" dirty="0" err="1">
                <a:latin typeface="+mn-lt"/>
              </a:rPr>
              <a:t>network_credential.h</a:t>
            </a:r>
            <a:endParaRPr lang="en-SG" kern="0" dirty="0">
              <a:latin typeface="+mn-lt"/>
            </a:endParaRPr>
          </a:p>
          <a:p>
            <a:pPr marL="1009635" lvl="1" indent="-40005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romanLcPeriod"/>
            </a:pPr>
            <a:r>
              <a:rPr lang="en-SG" kern="0" dirty="0">
                <a:latin typeface="+mn-lt"/>
              </a:rPr>
              <a:t>edit #define WIFI_SSID</a:t>
            </a:r>
          </a:p>
          <a:p>
            <a:pPr marL="1009635" lvl="1" indent="-40005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romanLcPeriod"/>
            </a:pPr>
            <a:r>
              <a:rPr lang="en-SG" kern="0" dirty="0">
                <a:latin typeface="+mn-lt"/>
              </a:rPr>
              <a:t>Edit #define WIFI_PASSWORD to be the same as TCP server</a:t>
            </a:r>
          </a:p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SG" kern="0" dirty="0">
                <a:latin typeface="+mn-lt"/>
              </a:rPr>
              <a:t>	Note: For TCP client, please match SSID to server</a:t>
            </a:r>
          </a:p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endParaRPr lang="en-SG" kern="0" dirty="0">
              <a:latin typeface="+mn-lt"/>
            </a:endParaRPr>
          </a:p>
          <a:p>
            <a:pPr marL="342900" marR="0" indent="-34290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 startAt="4"/>
              <a:tabLst/>
            </a:pPr>
            <a:r>
              <a:rPr lang="en-SG" kern="0" dirty="0">
                <a:latin typeface="+mn-lt"/>
              </a:rPr>
              <a:t>Build and program the boards. Open tera term (115200 baud rate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D60782-69BD-4E87-B861-2EF1F93CC497}"/>
              </a:ext>
            </a:extLst>
          </p:cNvPr>
          <p:cNvSpPr txBox="1"/>
          <p:nvPr/>
        </p:nvSpPr>
        <p:spPr bwMode="auto">
          <a:xfrm>
            <a:off x="354834" y="980728"/>
            <a:ext cx="11285782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SG" sz="1800" kern="0" baseline="0" dirty="0">
                <a:latin typeface="+mn-lt"/>
                <a:ea typeface="+mn-ea"/>
                <a:cs typeface="+mn-cs"/>
              </a:rPr>
              <a:t>Using a Secure TCP client and server example application to understand secure </a:t>
            </a:r>
            <a:r>
              <a:rPr lang="en-SG" sz="1800" kern="0" dirty="0">
                <a:latin typeface="+mn-lt"/>
              </a:rPr>
              <a:t>TCP connection implementation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20EEE95-119C-4D8E-8AE9-47308883B2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9981" y="1556792"/>
            <a:ext cx="5561008" cy="13575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723E6FB-CD4D-4BBF-8032-9E23FEC8B5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9981" y="3068960"/>
            <a:ext cx="5509150" cy="1154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1268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5E2B661-41ED-4890-8316-4B51CCB0151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0046" y="1124744"/>
            <a:ext cx="5363906" cy="1584176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/>
              <a:t>TCP Server </a:t>
            </a:r>
          </a:p>
          <a:p>
            <a:r>
              <a:rPr lang="en-US" sz="1600" dirty="0"/>
              <a:t>Press the user button (CYBSP_USER_BTN) to send LED ON/OFF command to client.</a:t>
            </a:r>
          </a:p>
          <a:p>
            <a:r>
              <a:rPr lang="en-US" sz="1600" dirty="0"/>
              <a:t>Each user button press will issue the LED ON or LED OFF commands alternately. The client in turn sends an acknowledgement message back to the server.</a:t>
            </a:r>
          </a:p>
          <a:p>
            <a:endParaRPr lang="en-US" sz="1800" dirty="0"/>
          </a:p>
          <a:p>
            <a:endParaRPr lang="en-SG" sz="1800" dirty="0"/>
          </a:p>
          <a:p>
            <a:pPr marL="0" indent="0">
              <a:buNone/>
            </a:pPr>
            <a:endParaRPr lang="en-SG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980D1B7-B71A-436D-9354-ABD1567DF0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  <a:endParaRPr lang="en-SG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FA38AB-C077-413A-A126-11F6E4776A8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F29495-5A75-4415-8A26-A870B9A55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1030" name="Picture 6" descr="https://github.com/Infineon/mtb-example-wifi-secure-tcp-server/raw/master/images/tcp-server-ipv4-output-ap-mode.png">
            <a:extLst>
              <a:ext uri="{FF2B5EF4-FFF2-40B4-BE49-F238E27FC236}">
                <a16:creationId xmlns:a16="http://schemas.microsoft.com/office/drawing/2014/main" id="{C5E5422E-5781-4D0A-800F-B33AA32F79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054" y="2825581"/>
            <a:ext cx="5363906" cy="3411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71D54EA1-1835-4DB9-9FD3-0C76931A122F}"/>
              </a:ext>
            </a:extLst>
          </p:cNvPr>
          <p:cNvSpPr txBox="1">
            <a:spLocks/>
          </p:cNvSpPr>
          <p:nvPr/>
        </p:nvSpPr>
        <p:spPr>
          <a:xfrm>
            <a:off x="6096000" y="1117442"/>
            <a:ext cx="5363906" cy="1447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576000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 sz="20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-270000" algn="l" defTabSz="576000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000" indent="-180000" algn="l" defTabSz="576000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2800" indent="-172800" algn="l" defTabSz="576000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800" indent="-180000" algn="l" defTabSz="576000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2800" indent="-180000" algn="l" defTabSz="576000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982800" indent="-180000" algn="l" defTabSz="57600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982800" indent="-180000" algn="l" defTabSz="57600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982800" indent="-180000" algn="l" defTabSz="57600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kern="0" dirty="0"/>
              <a:t>TCP Client</a:t>
            </a:r>
          </a:p>
          <a:p>
            <a:r>
              <a:rPr lang="en-US" sz="1600" kern="0" dirty="0"/>
              <a:t>Enter TPC Server address</a:t>
            </a:r>
          </a:p>
          <a:p>
            <a:r>
              <a:rPr lang="en-US" sz="1600" kern="0" dirty="0"/>
              <a:t>On receiving LED ON/OFF command from server, client will ON/OFF LED and send acknowledgement message back to server.</a:t>
            </a:r>
          </a:p>
          <a:p>
            <a:endParaRPr lang="en-US" sz="1800" kern="0" dirty="0"/>
          </a:p>
          <a:p>
            <a:endParaRPr lang="en-SG" sz="1800" kern="0" dirty="0"/>
          </a:p>
          <a:p>
            <a:pPr marL="0" indent="0">
              <a:buFont typeface="Arial" panose="020B0604020202020204" pitchFamily="34" charset="0"/>
              <a:buNone/>
            </a:pPr>
            <a:endParaRPr lang="en-SG" kern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393193-5737-4A0D-BFD7-8EDC24148E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5999" y="2825582"/>
            <a:ext cx="5683763" cy="3439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5925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5D7C61-8A41-4E18-BAE5-907A534F4E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Secure TCP client - One time (during initialization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CB29B49-A83D-4019-9836-296C6FBF0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915316-3B25-4036-ADF6-AAE560182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25C6C-614A-4D70-B313-7ADCEE25F184}" type="slidenum">
              <a:rPr lang="en-US" smtClean="0"/>
              <a:pPr/>
              <a:t>15</a:t>
            </a:fld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E846432-AB1F-418F-BE34-0314E31976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3589370"/>
              </p:ext>
            </p:extLst>
          </p:nvPr>
        </p:nvGraphicFramePr>
        <p:xfrm>
          <a:off x="335360" y="1124744"/>
          <a:ext cx="11521280" cy="518457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32048">
                  <a:extLst>
                    <a:ext uri="{9D8B030D-6E8A-4147-A177-3AD203B41FA5}">
                      <a16:colId xmlns:a16="http://schemas.microsoft.com/office/drawing/2014/main" val="1646239524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3995401156"/>
                    </a:ext>
                  </a:extLst>
                </a:gridCol>
                <a:gridCol w="6624736">
                  <a:extLst>
                    <a:ext uri="{9D8B030D-6E8A-4147-A177-3AD203B41FA5}">
                      <a16:colId xmlns:a16="http://schemas.microsoft.com/office/drawing/2014/main" val="3036110152"/>
                    </a:ext>
                  </a:extLst>
                </a:gridCol>
              </a:tblGrid>
              <a:tr h="481101">
                <a:tc>
                  <a:txBody>
                    <a:bodyPr/>
                    <a:lstStyle/>
                    <a:p>
                      <a:r>
                        <a:rPr lang="en-SG" sz="1600" dirty="0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600" dirty="0"/>
                        <a:t>St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600" dirty="0"/>
                        <a:t>Examp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0685280"/>
                  </a:ext>
                </a:extLst>
              </a:tr>
              <a:tr h="494846">
                <a:tc>
                  <a:txBody>
                    <a:bodyPr/>
                    <a:lstStyle/>
                    <a:p>
                      <a:r>
                        <a:rPr lang="en-SG" sz="16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Initialize the secure sockets library</a:t>
                      </a:r>
                      <a:endParaRPr lang="en-SG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600" dirty="0" err="1"/>
                        <a:t>cy_socket_init</a:t>
                      </a:r>
                      <a:r>
                        <a:rPr lang="en-SG" sz="1600" dirty="0"/>
                        <a:t>();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8133964"/>
                  </a:ext>
                </a:extLst>
              </a:tr>
              <a:tr h="916395">
                <a:tc>
                  <a:txBody>
                    <a:bodyPr/>
                    <a:lstStyle/>
                    <a:p>
                      <a:r>
                        <a:rPr lang="en-SG" sz="16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Store the root certificate(s) via macros and create char arrays to reference them in your application.</a:t>
                      </a:r>
                      <a:endParaRPr lang="en-SG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600" dirty="0"/>
                        <a:t>#define SERVER_ROOTCA_PEM "..."</a:t>
                      </a:r>
                    </a:p>
                    <a:p>
                      <a:r>
                        <a:rPr lang="en-SG" sz="1600" dirty="0"/>
                        <a:t>static </a:t>
                      </a:r>
                      <a:r>
                        <a:rPr lang="en-SG" sz="1600" dirty="0" err="1"/>
                        <a:t>const</a:t>
                      </a:r>
                      <a:r>
                        <a:rPr lang="en-SG" sz="1600" dirty="0"/>
                        <a:t> char </a:t>
                      </a:r>
                      <a:r>
                        <a:rPr lang="en-SG" sz="1600" dirty="0" err="1"/>
                        <a:t>tcp_server_ca_cert</a:t>
                      </a:r>
                      <a:r>
                        <a:rPr lang="en-SG" sz="1600" dirty="0"/>
                        <a:t>[] =</a:t>
                      </a:r>
                    </a:p>
                    <a:p>
                      <a:r>
                        <a:rPr lang="en-SG" sz="1600" dirty="0"/>
                        <a:t>SERVER_ROOTCA_PEM;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8799811"/>
                  </a:ext>
                </a:extLst>
              </a:tr>
              <a:tr h="1187920">
                <a:tc>
                  <a:txBody>
                    <a:bodyPr/>
                    <a:lstStyle/>
                    <a:p>
                      <a:r>
                        <a:rPr lang="en-SG" sz="16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Store the client's certificate and private key via macros and create char arrays to reference them in your application (only if the server requires client certificate validation).</a:t>
                      </a:r>
                      <a:endParaRPr lang="en-SG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#define CLIENT_CERT_PEM "..."</a:t>
                      </a:r>
                    </a:p>
                    <a:p>
                      <a:r>
                        <a:rPr lang="en-US" sz="1600" dirty="0"/>
                        <a:t>#define CLIENT_PRIVKEY_PEM "..."</a:t>
                      </a:r>
                    </a:p>
                    <a:p>
                      <a:r>
                        <a:rPr lang="en-US" sz="1600" dirty="0"/>
                        <a:t>static const char </a:t>
                      </a:r>
                      <a:r>
                        <a:rPr lang="en-US" sz="1600" dirty="0" err="1"/>
                        <a:t>tcp_client_cert</a:t>
                      </a:r>
                      <a:r>
                        <a:rPr lang="en-US" sz="1600" dirty="0"/>
                        <a:t>[] = CLIENT_CERT_PEM;</a:t>
                      </a:r>
                    </a:p>
                    <a:p>
                      <a:r>
                        <a:rPr lang="en-US" sz="1600" dirty="0"/>
                        <a:t>static const char </a:t>
                      </a:r>
                      <a:r>
                        <a:rPr lang="en-US" sz="1600" dirty="0" err="1"/>
                        <a:t>client_private_key</a:t>
                      </a:r>
                      <a:r>
                        <a:rPr lang="en-US" sz="1600" dirty="0"/>
                        <a:t>[] = CLIENT_PRIVKEY_PEM;</a:t>
                      </a:r>
                      <a:endParaRPr lang="en-SG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6459799"/>
                  </a:ext>
                </a:extLst>
              </a:tr>
              <a:tr h="916395">
                <a:tc>
                  <a:txBody>
                    <a:bodyPr/>
                    <a:lstStyle/>
                    <a:p>
                      <a:r>
                        <a:rPr lang="en-SG" sz="16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Initialize a TLS Identity with the client’s certificate and the private key (only if the server requires client certificate validation)</a:t>
                      </a:r>
                      <a:endParaRPr lang="en-SG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/>
                        <a:t>cy_tls_create_identity</a:t>
                      </a:r>
                      <a:r>
                        <a:rPr lang="en-US" sz="1600" dirty="0"/>
                        <a:t> (</a:t>
                      </a:r>
                      <a:r>
                        <a:rPr lang="en-US" sz="1600" dirty="0" err="1"/>
                        <a:t>tcp_client_cert</a:t>
                      </a:r>
                      <a:r>
                        <a:rPr lang="en-US" sz="1600" dirty="0"/>
                        <a:t>,  </a:t>
                      </a:r>
                      <a:r>
                        <a:rPr lang="en-US" sz="1600" dirty="0" err="1"/>
                        <a:t>strlen</a:t>
                      </a:r>
                      <a:r>
                        <a:rPr lang="en-US" sz="1600" dirty="0"/>
                        <a:t>(</a:t>
                      </a:r>
                      <a:r>
                        <a:rPr lang="en-US" sz="1600" dirty="0" err="1"/>
                        <a:t>tcp_client_cert</a:t>
                      </a:r>
                      <a:r>
                        <a:rPr lang="en-US" sz="1600" dirty="0"/>
                        <a:t>),</a:t>
                      </a:r>
                      <a:r>
                        <a:rPr lang="en-US" sz="1600" dirty="0" err="1"/>
                        <a:t>client_private_key</a:t>
                      </a:r>
                      <a:r>
                        <a:rPr lang="en-US" sz="1600" dirty="0"/>
                        <a:t>,</a:t>
                      </a:r>
                    </a:p>
                    <a:p>
                      <a:r>
                        <a:rPr lang="en-US" sz="1600" dirty="0" err="1"/>
                        <a:t>strlen</a:t>
                      </a:r>
                      <a:r>
                        <a:rPr lang="en-US" sz="1600" dirty="0"/>
                        <a:t>(</a:t>
                      </a:r>
                      <a:r>
                        <a:rPr lang="en-US" sz="1600" dirty="0" err="1"/>
                        <a:t>client_private_key</a:t>
                      </a:r>
                      <a:r>
                        <a:rPr lang="en-US" sz="1600" dirty="0"/>
                        <a:t>), &amp;</a:t>
                      </a:r>
                      <a:r>
                        <a:rPr lang="en-US" sz="1600" dirty="0" err="1"/>
                        <a:t>tls_identity</a:t>
                      </a:r>
                      <a:r>
                        <a:rPr lang="en-US" sz="1600" dirty="0"/>
                        <a:t>);</a:t>
                      </a:r>
                      <a:endParaRPr lang="en-SG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4701377"/>
                  </a:ext>
                </a:extLst>
              </a:tr>
              <a:tr h="1187920">
                <a:tc>
                  <a:txBody>
                    <a:bodyPr/>
                    <a:lstStyle/>
                    <a:p>
                      <a:r>
                        <a:rPr lang="en-SG" sz="1600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Initialize the Root Certificate of the TCP server (only if you are going to validate the root certificate of the server – which you should always do to prevent MITM)</a:t>
                      </a:r>
                      <a:endParaRPr lang="en-SG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600" dirty="0" err="1"/>
                        <a:t>cy_tls_load_global_root_ca_certificates</a:t>
                      </a:r>
                      <a:endParaRPr lang="en-SG" sz="1600" dirty="0"/>
                    </a:p>
                    <a:p>
                      <a:r>
                        <a:rPr lang="en-SG" sz="1600" dirty="0"/>
                        <a:t>(</a:t>
                      </a:r>
                      <a:r>
                        <a:rPr lang="en-SG" sz="1600" dirty="0" err="1"/>
                        <a:t>tcp_server_ca_cert</a:t>
                      </a:r>
                      <a:r>
                        <a:rPr lang="en-SG" sz="1600" dirty="0"/>
                        <a:t>,</a:t>
                      </a:r>
                    </a:p>
                    <a:p>
                      <a:r>
                        <a:rPr lang="en-SG" sz="1600" dirty="0" err="1"/>
                        <a:t>strlen</a:t>
                      </a:r>
                      <a:r>
                        <a:rPr lang="en-SG" sz="1600" dirty="0"/>
                        <a:t>(</a:t>
                      </a:r>
                      <a:r>
                        <a:rPr lang="en-SG" sz="1600" dirty="0" err="1"/>
                        <a:t>tcp_server_ca_cert</a:t>
                      </a:r>
                      <a:r>
                        <a:rPr lang="en-SG" sz="1600" dirty="0"/>
                        <a:t>));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42413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30535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5D7C61-8A41-4E18-BAE5-907A534F4E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Secure TCP client – each time you want to send / receive data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CB29B49-A83D-4019-9836-296C6FBF0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915316-3B25-4036-ADF6-AAE560182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25C6C-614A-4D70-B313-7ADCEE25F184}" type="slidenum">
              <a:rPr lang="en-US" smtClean="0"/>
              <a:pPr/>
              <a:t>16</a:t>
            </a:fld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E846432-AB1F-418F-BE34-0314E31976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1556389"/>
              </p:ext>
            </p:extLst>
          </p:nvPr>
        </p:nvGraphicFramePr>
        <p:xfrm>
          <a:off x="344910" y="1124744"/>
          <a:ext cx="11521280" cy="514156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32048">
                  <a:extLst>
                    <a:ext uri="{9D8B030D-6E8A-4147-A177-3AD203B41FA5}">
                      <a16:colId xmlns:a16="http://schemas.microsoft.com/office/drawing/2014/main" val="1646239524"/>
                    </a:ext>
                  </a:extLst>
                </a:gridCol>
                <a:gridCol w="3816424">
                  <a:extLst>
                    <a:ext uri="{9D8B030D-6E8A-4147-A177-3AD203B41FA5}">
                      <a16:colId xmlns:a16="http://schemas.microsoft.com/office/drawing/2014/main" val="3995401156"/>
                    </a:ext>
                  </a:extLst>
                </a:gridCol>
                <a:gridCol w="7272808">
                  <a:extLst>
                    <a:ext uri="{9D8B030D-6E8A-4147-A177-3AD203B41FA5}">
                      <a16:colId xmlns:a16="http://schemas.microsoft.com/office/drawing/2014/main" val="3036110152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r>
                        <a:rPr lang="en-SG" sz="1400" dirty="0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400" dirty="0"/>
                        <a:t>St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400" dirty="0"/>
                        <a:t>Examp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0685280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r>
                        <a:rPr lang="en-SG" sz="14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reate a Socket</a:t>
                      </a:r>
                      <a:endParaRPr lang="en-SG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400" dirty="0" err="1"/>
                        <a:t>cy_socket_create</a:t>
                      </a:r>
                      <a:r>
                        <a:rPr lang="en-SG" sz="1400" dirty="0"/>
                        <a:t> (CY_SOCKET_DOMAIN_AF_INET,</a:t>
                      </a:r>
                    </a:p>
                    <a:p>
                      <a:r>
                        <a:rPr lang="en-SG" sz="1400" dirty="0"/>
                        <a:t>CY_SOCKET_TYPE_STREAM,CY_SOCKET_IPPROTO_TLS, &amp;</a:t>
                      </a:r>
                      <a:r>
                        <a:rPr lang="en-SG" sz="1400" dirty="0" err="1"/>
                        <a:t>client_handle</a:t>
                      </a:r>
                      <a:r>
                        <a:rPr lang="en-SG" sz="1400" dirty="0"/>
                        <a:t>);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8133964"/>
                  </a:ext>
                </a:extLst>
              </a:tr>
              <a:tr h="707736">
                <a:tc>
                  <a:txBody>
                    <a:bodyPr/>
                    <a:lstStyle/>
                    <a:p>
                      <a:r>
                        <a:rPr lang="en-SG" sz="14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nable TLS on the Socket</a:t>
                      </a:r>
                      <a:endParaRPr lang="en-SG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400" dirty="0" err="1"/>
                        <a:t>cy_socket_setsockopt</a:t>
                      </a:r>
                      <a:r>
                        <a:rPr lang="en-SG" sz="1400" dirty="0"/>
                        <a:t> (</a:t>
                      </a:r>
                      <a:r>
                        <a:rPr lang="en-SG" sz="1400" dirty="0" err="1"/>
                        <a:t>client_handle</a:t>
                      </a:r>
                      <a:r>
                        <a:rPr lang="en-SG" sz="1400" dirty="0"/>
                        <a:t>,  CY_SOCKET_SOL_TLS,</a:t>
                      </a:r>
                    </a:p>
                    <a:p>
                      <a:r>
                        <a:rPr lang="en-SG" sz="1400" dirty="0"/>
                        <a:t>CY_SOCKET_SO_TLS_IDENTITY, </a:t>
                      </a:r>
                      <a:r>
                        <a:rPr lang="en-SG" sz="1400" dirty="0" err="1"/>
                        <a:t>tls_identity</a:t>
                      </a:r>
                      <a:r>
                        <a:rPr lang="en-SG" sz="1400" dirty="0"/>
                        <a:t>, </a:t>
                      </a:r>
                      <a:r>
                        <a:rPr lang="en-SG" sz="1400" dirty="0" err="1"/>
                        <a:t>sizeof</a:t>
                      </a:r>
                      <a:r>
                        <a:rPr lang="en-SG" sz="1400" dirty="0"/>
                        <a:t>(</a:t>
                      </a:r>
                      <a:r>
                        <a:rPr lang="en-SG" sz="1400" dirty="0" err="1"/>
                        <a:t>tls_identity</a:t>
                      </a:r>
                      <a:r>
                        <a:rPr lang="en-SG" sz="1400" dirty="0"/>
                        <a:t>));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8799811"/>
                  </a:ext>
                </a:extLst>
              </a:tr>
              <a:tr h="707736">
                <a:tc>
                  <a:txBody>
                    <a:bodyPr/>
                    <a:lstStyle/>
                    <a:p>
                      <a:r>
                        <a:rPr lang="en-SG" sz="14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et the TLS authentication mode – this can be one of the following three:</a:t>
                      </a:r>
                    </a:p>
                    <a:p>
                      <a:r>
                        <a:rPr lang="en-US" sz="1400" dirty="0"/>
                        <a:t>CY_SOCKET_TLS_VERIFY_NONE</a:t>
                      </a:r>
                    </a:p>
                    <a:p>
                      <a:r>
                        <a:rPr lang="en-US" sz="1400" dirty="0"/>
                        <a:t>CY_SOCKET_TLS_VERIFY_OPTIONAL</a:t>
                      </a:r>
                    </a:p>
                    <a:p>
                      <a:r>
                        <a:rPr lang="en-US" sz="1400" dirty="0"/>
                        <a:t>CY_SOCKET_TLS_VERIFY_REQUIRED</a:t>
                      </a:r>
                      <a:endParaRPr lang="en-SG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cy_socket_tls_auth_mode_t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ls_auth_mode</a:t>
                      </a:r>
                      <a:r>
                        <a:rPr lang="en-US" sz="1400" dirty="0"/>
                        <a:t> = CY_SOCKET_TLS_VERIFY_REQUIRED;</a:t>
                      </a:r>
                    </a:p>
                    <a:p>
                      <a:r>
                        <a:rPr lang="en-US" sz="1400" dirty="0" err="1"/>
                        <a:t>cy_socket_setsockopt</a:t>
                      </a:r>
                      <a:r>
                        <a:rPr lang="en-US" sz="1400" dirty="0"/>
                        <a:t>(</a:t>
                      </a:r>
                      <a:r>
                        <a:rPr lang="en-US" sz="1400" dirty="0" err="1"/>
                        <a:t>client_handle</a:t>
                      </a:r>
                      <a:r>
                        <a:rPr lang="en-US" sz="1400" dirty="0"/>
                        <a:t>, CY_SOCKET_SOL_TLS,</a:t>
                      </a:r>
                    </a:p>
                    <a:p>
                      <a:r>
                        <a:rPr lang="en-US" sz="1400" dirty="0"/>
                        <a:t>CY_SOCKET_SO_TLS_AUTH_MODE, &amp;</a:t>
                      </a:r>
                      <a:r>
                        <a:rPr lang="en-US" sz="1400" dirty="0" err="1"/>
                        <a:t>tls_auth_mode</a:t>
                      </a:r>
                      <a:r>
                        <a:rPr lang="en-US" sz="1400" dirty="0"/>
                        <a:t>, </a:t>
                      </a:r>
                      <a:r>
                        <a:rPr lang="en-US" sz="1400" dirty="0" err="1"/>
                        <a:t>sizeof</a:t>
                      </a:r>
                      <a:r>
                        <a:rPr lang="en-US" sz="1400" dirty="0"/>
                        <a:t>(</a:t>
                      </a:r>
                      <a:r>
                        <a:rPr lang="en-US" sz="1400" dirty="0" err="1"/>
                        <a:t>cy_socket_tls_auth_mode_t</a:t>
                      </a:r>
                      <a:r>
                        <a:rPr lang="en-US" sz="1400" dirty="0"/>
                        <a:t>));</a:t>
                      </a:r>
                      <a:endParaRPr lang="en-SG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6459799"/>
                  </a:ext>
                </a:extLst>
              </a:tr>
              <a:tr h="403056">
                <a:tc>
                  <a:txBody>
                    <a:bodyPr/>
                    <a:lstStyle/>
                    <a:p>
                      <a:r>
                        <a:rPr lang="en-SG" sz="14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ake the TCP connection</a:t>
                      </a:r>
                      <a:endParaRPr lang="en-SG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cy_socket_connect</a:t>
                      </a:r>
                      <a:r>
                        <a:rPr lang="en-US" sz="1400" dirty="0"/>
                        <a:t> (</a:t>
                      </a:r>
                      <a:r>
                        <a:rPr lang="en-US" sz="1400" dirty="0" err="1"/>
                        <a:t>client_handle</a:t>
                      </a:r>
                      <a:r>
                        <a:rPr lang="en-US" sz="1400" dirty="0"/>
                        <a:t>, &amp;address,  </a:t>
                      </a:r>
                      <a:r>
                        <a:rPr lang="en-US" sz="1400" dirty="0" err="1"/>
                        <a:t>sizeof</a:t>
                      </a:r>
                      <a:r>
                        <a:rPr lang="en-US" sz="1400" dirty="0"/>
                        <a:t>(</a:t>
                      </a:r>
                      <a:r>
                        <a:rPr lang="en-US" sz="1400" dirty="0" err="1"/>
                        <a:t>cy_socket_sockaddr_t</a:t>
                      </a:r>
                      <a:r>
                        <a:rPr lang="en-US" sz="1400" dirty="0"/>
                        <a:t>));</a:t>
                      </a:r>
                      <a:endParaRPr lang="en-SG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4701377"/>
                  </a:ext>
                </a:extLst>
              </a:tr>
              <a:tr h="576064">
                <a:tc>
                  <a:txBody>
                    <a:bodyPr/>
                    <a:lstStyle/>
                    <a:p>
                      <a:r>
                        <a:rPr lang="en-SG" sz="1400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Write data</a:t>
                      </a:r>
                      <a:endParaRPr lang="en-SG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/>
                        <a:t>cy_socket_send (client_handle, message_buffer, strlen(message_buffer),</a:t>
                      </a:r>
                    </a:p>
                    <a:p>
                      <a:r>
                        <a:rPr lang="da-DK" sz="1400" dirty="0"/>
                        <a:t>CY_SOCKET_FLAGS_NONE, &amp;bytes_sent);</a:t>
                      </a:r>
                      <a:endParaRPr lang="en-SG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4241302"/>
                  </a:ext>
                </a:extLst>
              </a:tr>
              <a:tr h="707736">
                <a:tc>
                  <a:txBody>
                    <a:bodyPr/>
                    <a:lstStyle/>
                    <a:p>
                      <a:r>
                        <a:rPr lang="en-SG" sz="1400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Read from the Stream (if you want to receive a response from the server)</a:t>
                      </a:r>
                      <a:endParaRPr lang="en-SG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400" dirty="0" err="1"/>
                        <a:t>cy_socket_recv</a:t>
                      </a:r>
                      <a:r>
                        <a:rPr lang="en-SG" sz="1400" dirty="0"/>
                        <a:t> (</a:t>
                      </a:r>
                      <a:r>
                        <a:rPr lang="en-SG" sz="1400" dirty="0" err="1"/>
                        <a:t>client_handle</a:t>
                      </a:r>
                      <a:r>
                        <a:rPr lang="en-SG" sz="1400" dirty="0"/>
                        <a:t>,</a:t>
                      </a:r>
                    </a:p>
                    <a:p>
                      <a:r>
                        <a:rPr lang="en-SG" sz="1400" dirty="0" err="1"/>
                        <a:t>message_buffer</a:t>
                      </a:r>
                      <a:r>
                        <a:rPr lang="en-SG" sz="1400" dirty="0"/>
                        <a:t>, TCP_LED_CMD_LEN,</a:t>
                      </a:r>
                    </a:p>
                    <a:p>
                      <a:r>
                        <a:rPr lang="en-SG" sz="1400" dirty="0"/>
                        <a:t>CY_SOCKET_FLAGS_NONE, &amp;</a:t>
                      </a:r>
                      <a:r>
                        <a:rPr lang="en-SG" sz="1400" dirty="0" err="1"/>
                        <a:t>bytes_received</a:t>
                      </a:r>
                      <a:r>
                        <a:rPr lang="en-SG" sz="1400" dirty="0"/>
                        <a:t>);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162565"/>
                  </a:ext>
                </a:extLst>
              </a:tr>
              <a:tr h="352952">
                <a:tc>
                  <a:txBody>
                    <a:bodyPr/>
                    <a:lstStyle/>
                    <a:p>
                      <a:r>
                        <a:rPr lang="en-SG" sz="1400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400" dirty="0"/>
                        <a:t>Disconne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cy_socket_disconnect</a:t>
                      </a:r>
                      <a:r>
                        <a:rPr lang="en-US" sz="1400" dirty="0"/>
                        <a:t> (</a:t>
                      </a:r>
                      <a:r>
                        <a:rPr lang="en-US" sz="1400" dirty="0" err="1"/>
                        <a:t>client_handle</a:t>
                      </a:r>
                      <a:r>
                        <a:rPr lang="en-US" sz="1400" dirty="0"/>
                        <a:t>, 0);</a:t>
                      </a:r>
                      <a:endParaRPr lang="en-SG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45651"/>
                  </a:ext>
                </a:extLst>
              </a:tr>
              <a:tr h="389037">
                <a:tc>
                  <a:txBody>
                    <a:bodyPr/>
                    <a:lstStyle/>
                    <a:p>
                      <a:r>
                        <a:rPr lang="en-SG" sz="1400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400" dirty="0"/>
                        <a:t>Delete the Socket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400" dirty="0" err="1"/>
                        <a:t>cy_socket_delete</a:t>
                      </a:r>
                      <a:r>
                        <a:rPr lang="en-SG" sz="1400" dirty="0"/>
                        <a:t>(</a:t>
                      </a:r>
                      <a:r>
                        <a:rPr lang="en-SG" sz="1400" dirty="0" err="1"/>
                        <a:t>client_handle</a:t>
                      </a:r>
                      <a:r>
                        <a:rPr lang="en-SG" sz="1400" dirty="0"/>
                        <a:t>);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50009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44726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5D7C61-8A41-4E18-BAE5-907A534F4E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Secure TCP server – One time (during initialization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CB29B49-A83D-4019-9836-296C6FBF0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915316-3B25-4036-ADF6-AAE560182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25C6C-614A-4D70-B313-7ADCEE25F184}" type="slidenum">
              <a:rPr lang="en-US" smtClean="0"/>
              <a:pPr/>
              <a:t>17</a:t>
            </a:fld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E846432-AB1F-418F-BE34-0314E31976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9194561"/>
              </p:ext>
            </p:extLst>
          </p:nvPr>
        </p:nvGraphicFramePr>
        <p:xfrm>
          <a:off x="344910" y="1124744"/>
          <a:ext cx="11583738" cy="510203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34390">
                  <a:extLst>
                    <a:ext uri="{9D8B030D-6E8A-4147-A177-3AD203B41FA5}">
                      <a16:colId xmlns:a16="http://schemas.microsoft.com/office/drawing/2014/main" val="1646239524"/>
                    </a:ext>
                  </a:extLst>
                </a:gridCol>
                <a:gridCol w="3465520">
                  <a:extLst>
                    <a:ext uri="{9D8B030D-6E8A-4147-A177-3AD203B41FA5}">
                      <a16:colId xmlns:a16="http://schemas.microsoft.com/office/drawing/2014/main" val="3995401156"/>
                    </a:ext>
                  </a:extLst>
                </a:gridCol>
                <a:gridCol w="7683828">
                  <a:extLst>
                    <a:ext uri="{9D8B030D-6E8A-4147-A177-3AD203B41FA5}">
                      <a16:colId xmlns:a16="http://schemas.microsoft.com/office/drawing/2014/main" val="3036110152"/>
                    </a:ext>
                  </a:extLst>
                </a:gridCol>
              </a:tblGrid>
              <a:tr h="323937">
                <a:tc>
                  <a:txBody>
                    <a:bodyPr/>
                    <a:lstStyle/>
                    <a:p>
                      <a:r>
                        <a:rPr lang="en-SG" sz="1400" dirty="0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400" dirty="0"/>
                        <a:t>St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400" dirty="0"/>
                        <a:t>Examp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0685280"/>
                  </a:ext>
                </a:extLst>
              </a:tr>
              <a:tr h="468151">
                <a:tc>
                  <a:txBody>
                    <a:bodyPr/>
                    <a:lstStyle/>
                    <a:p>
                      <a:r>
                        <a:rPr lang="en-SG" sz="14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Initialize the secure sockets library</a:t>
                      </a:r>
                      <a:endParaRPr lang="en-SG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400" dirty="0" err="1"/>
                        <a:t>cy_socket_init</a:t>
                      </a:r>
                      <a:r>
                        <a:rPr lang="en-SG" sz="1400" dirty="0"/>
                        <a:t>();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8133964"/>
                  </a:ext>
                </a:extLst>
              </a:tr>
              <a:tr h="655951">
                <a:tc>
                  <a:txBody>
                    <a:bodyPr/>
                    <a:lstStyle/>
                    <a:p>
                      <a:r>
                        <a:rPr lang="en-SG" sz="14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Initialize a TLS Identity with the server's certificate and the private key</a:t>
                      </a:r>
                      <a:endParaRPr lang="en-SG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400" dirty="0" err="1"/>
                        <a:t>cy_tls_create_identity</a:t>
                      </a:r>
                      <a:r>
                        <a:rPr lang="en-SG" sz="1400" dirty="0"/>
                        <a:t>(</a:t>
                      </a:r>
                      <a:r>
                        <a:rPr lang="en-SG" sz="1400" dirty="0" err="1"/>
                        <a:t>tcp_server_cert</a:t>
                      </a:r>
                      <a:r>
                        <a:rPr lang="en-SG" sz="1400" dirty="0"/>
                        <a:t>, </a:t>
                      </a:r>
                      <a:r>
                        <a:rPr lang="en-SG" sz="1400" dirty="0" err="1"/>
                        <a:t>tcp_server_cert_len</a:t>
                      </a:r>
                      <a:r>
                        <a:rPr lang="en-SG" sz="1400" dirty="0"/>
                        <a:t>, </a:t>
                      </a:r>
                      <a:r>
                        <a:rPr lang="en-SG" sz="1400" dirty="0" err="1"/>
                        <a:t>server_private_key</a:t>
                      </a:r>
                      <a:r>
                        <a:rPr lang="en-SG" sz="1400" dirty="0"/>
                        <a:t>, </a:t>
                      </a:r>
                      <a:r>
                        <a:rPr lang="en-SG" sz="1400" dirty="0" err="1"/>
                        <a:t>pkey_len</a:t>
                      </a:r>
                      <a:r>
                        <a:rPr lang="en-SG" sz="1400" dirty="0"/>
                        <a:t>, &amp;</a:t>
                      </a:r>
                      <a:r>
                        <a:rPr lang="en-SG" sz="1400" dirty="0" err="1"/>
                        <a:t>tls_identity</a:t>
                      </a:r>
                      <a:r>
                        <a:rPr lang="en-SG" sz="1400" dirty="0"/>
                        <a:t>);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8799811"/>
                  </a:ext>
                </a:extLst>
              </a:tr>
              <a:tr h="612233">
                <a:tc>
                  <a:txBody>
                    <a:bodyPr/>
                    <a:lstStyle/>
                    <a:p>
                      <a:r>
                        <a:rPr lang="en-SG" sz="14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Initialize the global trusted </a:t>
                      </a:r>
                      <a:r>
                        <a:rPr lang="en-US" sz="1400" dirty="0" err="1"/>
                        <a:t>RootCA</a:t>
                      </a:r>
                      <a:endParaRPr lang="en-US" sz="1400" dirty="0"/>
                    </a:p>
                    <a:p>
                      <a:r>
                        <a:rPr lang="en-US" sz="1400" dirty="0"/>
                        <a:t>certificate.</a:t>
                      </a:r>
                      <a:endParaRPr lang="en-SG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cy_tls_load_global_root_ca_certificates</a:t>
                      </a:r>
                      <a:endParaRPr lang="en-US" sz="1400" dirty="0"/>
                    </a:p>
                    <a:p>
                      <a:r>
                        <a:rPr lang="en-US" sz="1400" dirty="0"/>
                        <a:t>(</a:t>
                      </a:r>
                      <a:r>
                        <a:rPr lang="en-US" sz="1400" dirty="0" err="1"/>
                        <a:t>tcp_client_ca_cert</a:t>
                      </a:r>
                      <a:r>
                        <a:rPr lang="en-US" sz="1400" dirty="0"/>
                        <a:t>, </a:t>
                      </a:r>
                      <a:r>
                        <a:rPr lang="en-US" sz="1400" dirty="0" err="1"/>
                        <a:t>strlen</a:t>
                      </a:r>
                      <a:r>
                        <a:rPr lang="en-US" sz="1400" dirty="0"/>
                        <a:t>(</a:t>
                      </a:r>
                      <a:r>
                        <a:rPr lang="en-US" sz="1400" dirty="0" err="1"/>
                        <a:t>tcp_client_ca_cert</a:t>
                      </a:r>
                      <a:r>
                        <a:rPr lang="en-US" sz="1400" dirty="0"/>
                        <a:t>));</a:t>
                      </a:r>
                      <a:endParaRPr lang="en-SG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6459799"/>
                  </a:ext>
                </a:extLst>
              </a:tr>
              <a:tr h="550693">
                <a:tc>
                  <a:txBody>
                    <a:bodyPr/>
                    <a:lstStyle/>
                    <a:p>
                      <a:r>
                        <a:rPr lang="en-SG" sz="14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reate a Socket</a:t>
                      </a:r>
                      <a:endParaRPr lang="en-SG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cy_socket_create</a:t>
                      </a:r>
                      <a:r>
                        <a:rPr lang="en-US" sz="1400" dirty="0"/>
                        <a:t>(CY_SOCKET_DOMAIN_AF_INET, CY_SOCKET_TYPE_STREAM, CY_SOCKET_IPPROTO_TLS, &amp;</a:t>
                      </a:r>
                      <a:r>
                        <a:rPr lang="en-US" sz="1400" dirty="0" err="1"/>
                        <a:t>server_handle</a:t>
                      </a:r>
                      <a:r>
                        <a:rPr lang="en-US" sz="1400" dirty="0"/>
                        <a:t>);</a:t>
                      </a:r>
                      <a:endParaRPr lang="en-SG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4701377"/>
                  </a:ext>
                </a:extLst>
              </a:tr>
              <a:tr h="612233">
                <a:tc>
                  <a:txBody>
                    <a:bodyPr/>
                    <a:lstStyle/>
                    <a:p>
                      <a:r>
                        <a:rPr lang="en-SG" sz="1400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et the socket to use the TLS identity.</a:t>
                      </a:r>
                      <a:endParaRPr lang="en-SG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/>
                        <a:t>cy_socket_setsockopt(server_handle, CY_SOCKET_SOL_TLS, CY_SOCKET_SO_TLS_IDENTITY, tls_identity, sizeof(tls_identity));</a:t>
                      </a:r>
                      <a:endParaRPr lang="en-SG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4241302"/>
                  </a:ext>
                </a:extLst>
              </a:tr>
              <a:tr h="777449">
                <a:tc>
                  <a:txBody>
                    <a:bodyPr/>
                    <a:lstStyle/>
                    <a:p>
                      <a:r>
                        <a:rPr lang="en-SG" sz="1400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et the TLS authentication mode</a:t>
                      </a:r>
                      <a:endParaRPr lang="en-SG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400" dirty="0" err="1"/>
                        <a:t>cy_socket_tls_auth_mode_t</a:t>
                      </a:r>
                      <a:r>
                        <a:rPr lang="en-SG" sz="1400" dirty="0"/>
                        <a:t> </a:t>
                      </a:r>
                      <a:r>
                        <a:rPr lang="en-SG" sz="1400" dirty="0" err="1"/>
                        <a:t>tls_auth_mode</a:t>
                      </a:r>
                      <a:r>
                        <a:rPr lang="en-SG" sz="1400" dirty="0"/>
                        <a:t> = CY_SOCKET_TLS_VERIFY_REQUIRED;</a:t>
                      </a:r>
                    </a:p>
                    <a:p>
                      <a:r>
                        <a:rPr lang="en-SG" sz="1400" dirty="0" err="1"/>
                        <a:t>cy_socket_setsockopt</a:t>
                      </a:r>
                      <a:r>
                        <a:rPr lang="en-SG" sz="1400" dirty="0"/>
                        <a:t>(</a:t>
                      </a:r>
                      <a:r>
                        <a:rPr lang="en-SG" sz="1400" dirty="0" err="1"/>
                        <a:t>server_handle</a:t>
                      </a:r>
                      <a:r>
                        <a:rPr lang="en-SG" sz="1400" dirty="0"/>
                        <a:t>, CY_SOCKET_SOL_TLS, CY_SOCKET_SO_TLS_AUTH_MODE, &amp;</a:t>
                      </a:r>
                      <a:r>
                        <a:rPr lang="en-SG" sz="1400" dirty="0" err="1"/>
                        <a:t>tls_auth_mode</a:t>
                      </a:r>
                      <a:r>
                        <a:rPr lang="en-SG" sz="1400" dirty="0"/>
                        <a:t>, </a:t>
                      </a:r>
                      <a:r>
                        <a:rPr lang="en-SG" sz="1400" dirty="0" err="1"/>
                        <a:t>sizeof</a:t>
                      </a:r>
                      <a:r>
                        <a:rPr lang="en-SG" sz="1400" dirty="0"/>
                        <a:t>(</a:t>
                      </a:r>
                      <a:r>
                        <a:rPr lang="en-SG" sz="1400" dirty="0" err="1"/>
                        <a:t>cy_socket_tls_auth_mode_t</a:t>
                      </a:r>
                      <a:r>
                        <a:rPr lang="en-SG" sz="1400" dirty="0"/>
                        <a:t>));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162565"/>
                  </a:ext>
                </a:extLst>
              </a:tr>
              <a:tr h="550693">
                <a:tc>
                  <a:txBody>
                    <a:bodyPr/>
                    <a:lstStyle/>
                    <a:p>
                      <a:r>
                        <a:rPr lang="en-SG" sz="1400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Bind the TCP socket created to your</a:t>
                      </a:r>
                    </a:p>
                    <a:p>
                      <a:r>
                        <a:rPr lang="en-US" sz="1400" dirty="0"/>
                        <a:t>server IP address and TCP port</a:t>
                      </a:r>
                      <a:endParaRPr lang="en-SG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cy_socket_bind</a:t>
                      </a:r>
                      <a:r>
                        <a:rPr lang="en-US" sz="1400" dirty="0"/>
                        <a:t>(</a:t>
                      </a:r>
                      <a:r>
                        <a:rPr lang="en-US" sz="1400" dirty="0" err="1"/>
                        <a:t>server_handle</a:t>
                      </a:r>
                      <a:r>
                        <a:rPr lang="en-US" sz="1400" dirty="0"/>
                        <a:t>, &amp;</a:t>
                      </a:r>
                      <a:r>
                        <a:rPr lang="en-US" sz="1400" dirty="0" err="1"/>
                        <a:t>tcp_server_addr</a:t>
                      </a:r>
                      <a:r>
                        <a:rPr lang="en-US" sz="1400" dirty="0"/>
                        <a:t>, </a:t>
                      </a:r>
                      <a:r>
                        <a:rPr lang="en-US" sz="1400" dirty="0" err="1"/>
                        <a:t>sizeof</a:t>
                      </a:r>
                      <a:r>
                        <a:rPr lang="en-US" sz="1400" dirty="0"/>
                        <a:t>(</a:t>
                      </a:r>
                      <a:r>
                        <a:rPr lang="en-US" sz="1400" dirty="0" err="1"/>
                        <a:t>tcp_server_addr</a:t>
                      </a:r>
                      <a:r>
                        <a:rPr lang="en-US" sz="1400" dirty="0"/>
                        <a:t>));</a:t>
                      </a:r>
                      <a:endParaRPr lang="en-SG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45651"/>
                  </a:ext>
                </a:extLst>
              </a:tr>
              <a:tr h="550693">
                <a:tc>
                  <a:txBody>
                    <a:bodyPr/>
                    <a:lstStyle/>
                    <a:p>
                      <a:r>
                        <a:rPr lang="en-SG" sz="1400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Listen on the socket for incoming</a:t>
                      </a:r>
                    </a:p>
                    <a:p>
                      <a:r>
                        <a:rPr lang="en-US" sz="1400" dirty="0"/>
                        <a:t>connection requests</a:t>
                      </a:r>
                      <a:endParaRPr lang="en-SG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cy_socket_listen</a:t>
                      </a:r>
                      <a:r>
                        <a:rPr lang="en-US" sz="1400" dirty="0"/>
                        <a:t>(</a:t>
                      </a:r>
                      <a:r>
                        <a:rPr lang="en-US" sz="1400" dirty="0" err="1"/>
                        <a:t>server_handle</a:t>
                      </a:r>
                      <a:r>
                        <a:rPr lang="en-US" sz="1400" dirty="0"/>
                        <a:t>, TCP_SERVER_MAX_PENDING_CONNECTIONS);</a:t>
                      </a:r>
                      <a:endParaRPr lang="en-SG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50009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068975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5D7C61-8A41-4E18-BAE5-907A534F4E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Secure TCP server – each time you want to setup and accept a connec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CB29B49-A83D-4019-9836-296C6FBF0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915316-3B25-4036-ADF6-AAE560182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25C6C-614A-4D70-B313-7ADCEE25F184}" type="slidenum">
              <a:rPr lang="en-US" smtClean="0"/>
              <a:pPr/>
              <a:t>18</a:t>
            </a:fld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E846432-AB1F-418F-BE34-0314E31976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6460770"/>
              </p:ext>
            </p:extLst>
          </p:nvPr>
        </p:nvGraphicFramePr>
        <p:xfrm>
          <a:off x="335360" y="1124744"/>
          <a:ext cx="11521280" cy="401273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32048">
                  <a:extLst>
                    <a:ext uri="{9D8B030D-6E8A-4147-A177-3AD203B41FA5}">
                      <a16:colId xmlns:a16="http://schemas.microsoft.com/office/drawing/2014/main" val="1646239524"/>
                    </a:ext>
                  </a:extLst>
                </a:gridCol>
                <a:gridCol w="3096344">
                  <a:extLst>
                    <a:ext uri="{9D8B030D-6E8A-4147-A177-3AD203B41FA5}">
                      <a16:colId xmlns:a16="http://schemas.microsoft.com/office/drawing/2014/main" val="3995401156"/>
                    </a:ext>
                  </a:extLst>
                </a:gridCol>
                <a:gridCol w="7992888">
                  <a:extLst>
                    <a:ext uri="{9D8B030D-6E8A-4147-A177-3AD203B41FA5}">
                      <a16:colId xmlns:a16="http://schemas.microsoft.com/office/drawing/2014/main" val="3036110152"/>
                    </a:ext>
                  </a:extLst>
                </a:gridCol>
              </a:tblGrid>
              <a:tr h="481101">
                <a:tc>
                  <a:txBody>
                    <a:bodyPr/>
                    <a:lstStyle/>
                    <a:p>
                      <a:r>
                        <a:rPr lang="en-SG" sz="1800" dirty="0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800" dirty="0"/>
                        <a:t>St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800" dirty="0"/>
                        <a:t>Examp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0685280"/>
                  </a:ext>
                </a:extLst>
              </a:tr>
              <a:tr h="597801">
                <a:tc>
                  <a:txBody>
                    <a:bodyPr/>
                    <a:lstStyle/>
                    <a:p>
                      <a:r>
                        <a:rPr lang="en-SG" sz="18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Accept connection</a:t>
                      </a:r>
                      <a:endParaRPr lang="en-SG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err="1"/>
                        <a:t>cy_socket_accept</a:t>
                      </a:r>
                      <a:r>
                        <a:rPr lang="en-US" sz="1800" dirty="0"/>
                        <a:t>(</a:t>
                      </a:r>
                      <a:r>
                        <a:rPr lang="en-US" sz="1800" dirty="0" err="1"/>
                        <a:t>server_handle</a:t>
                      </a:r>
                      <a:r>
                        <a:rPr lang="en-US" sz="1800" dirty="0"/>
                        <a:t>, &amp;</a:t>
                      </a:r>
                      <a:r>
                        <a:rPr lang="en-US" sz="1800" dirty="0" err="1"/>
                        <a:t>peer_addr</a:t>
                      </a:r>
                      <a:r>
                        <a:rPr lang="en-US" sz="1800" dirty="0"/>
                        <a:t>, &amp;</a:t>
                      </a:r>
                      <a:r>
                        <a:rPr lang="en-US" sz="1800" dirty="0" err="1"/>
                        <a:t>peer_addr_len</a:t>
                      </a:r>
                      <a:r>
                        <a:rPr lang="en-US" sz="1800" dirty="0"/>
                        <a:t>, &amp;</a:t>
                      </a:r>
                      <a:r>
                        <a:rPr lang="en-US" sz="1800" dirty="0" err="1"/>
                        <a:t>client_handle</a:t>
                      </a:r>
                      <a:r>
                        <a:rPr lang="en-US" sz="1800" dirty="0"/>
                        <a:t>);</a:t>
                      </a:r>
                      <a:endParaRPr lang="en-SG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8133964"/>
                  </a:ext>
                </a:extLst>
              </a:tr>
              <a:tr h="1111067">
                <a:tc>
                  <a:txBody>
                    <a:bodyPr/>
                    <a:lstStyle/>
                    <a:p>
                      <a:r>
                        <a:rPr lang="en-SG" sz="18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Read from the connection</a:t>
                      </a:r>
                      <a:endParaRPr lang="en-SG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800" dirty="0" err="1"/>
                        <a:t>cy_socket_recv</a:t>
                      </a:r>
                      <a:r>
                        <a:rPr lang="en-SG" sz="1800" dirty="0"/>
                        <a:t>(</a:t>
                      </a:r>
                      <a:r>
                        <a:rPr lang="en-SG" sz="1800" dirty="0" err="1"/>
                        <a:t>server_handle</a:t>
                      </a:r>
                      <a:r>
                        <a:rPr lang="en-SG" sz="1800" dirty="0"/>
                        <a:t>, </a:t>
                      </a:r>
                      <a:r>
                        <a:rPr lang="en-SG" sz="1800" dirty="0" err="1"/>
                        <a:t>message_buffer</a:t>
                      </a:r>
                      <a:r>
                        <a:rPr lang="en-SG" sz="1800" dirty="0"/>
                        <a:t>,</a:t>
                      </a:r>
                    </a:p>
                    <a:p>
                      <a:r>
                        <a:rPr lang="en-SG" sz="1800" dirty="0"/>
                        <a:t>MAX_TCP_RECV_BUFFER_SIZE, CY_SOCKET_FLAGS_NONE,</a:t>
                      </a:r>
                    </a:p>
                    <a:p>
                      <a:r>
                        <a:rPr lang="en-SG" sz="1800" dirty="0"/>
                        <a:t>&amp;</a:t>
                      </a:r>
                      <a:r>
                        <a:rPr lang="en-SG" sz="1800" dirty="0" err="1"/>
                        <a:t>bytes_received</a:t>
                      </a:r>
                      <a:r>
                        <a:rPr lang="en-SG" sz="1800" dirty="0"/>
                        <a:t>);;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8799811"/>
                  </a:ext>
                </a:extLst>
              </a:tr>
              <a:tr h="864096">
                <a:tc>
                  <a:txBody>
                    <a:bodyPr/>
                    <a:lstStyle/>
                    <a:p>
                      <a:r>
                        <a:rPr lang="en-SG" sz="18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Write a response</a:t>
                      </a:r>
                      <a:endParaRPr lang="en-SG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800" dirty="0"/>
                        <a:t>cy_socket_send(server_handle, &amp;message, strlen(message), CY_SOCKET_FLAGS_NONE, &amp;bytes_sent);</a:t>
                      </a:r>
                      <a:endParaRPr lang="en-SG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6459799"/>
                  </a:ext>
                </a:extLst>
              </a:tr>
              <a:tr h="916395">
                <a:tc>
                  <a:txBody>
                    <a:bodyPr/>
                    <a:lstStyle/>
                    <a:p>
                      <a:r>
                        <a:rPr lang="en-SG" sz="1800"/>
                        <a:t>4</a:t>
                      </a:r>
                      <a:endParaRPr lang="en-SG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Disconnect the Socket</a:t>
                      </a:r>
                      <a:endParaRPr lang="en-SG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err="1"/>
                        <a:t>cy_socket_disconnect</a:t>
                      </a:r>
                      <a:r>
                        <a:rPr lang="en-US" sz="1800" dirty="0"/>
                        <a:t>(</a:t>
                      </a:r>
                      <a:r>
                        <a:rPr lang="en-US" sz="1800" dirty="0" err="1"/>
                        <a:t>server_handle</a:t>
                      </a:r>
                      <a:r>
                        <a:rPr lang="en-US" sz="1800" dirty="0"/>
                        <a:t>, </a:t>
                      </a:r>
                      <a:r>
                        <a:rPr lang="en-US" sz="1800" dirty="0" err="1"/>
                        <a:t>timeOut</a:t>
                      </a:r>
                      <a:r>
                        <a:rPr lang="en-US" sz="1800" dirty="0"/>
                        <a:t>);</a:t>
                      </a:r>
                      <a:endParaRPr lang="en-SG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47013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74028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BD7BE7-E8F6-4404-90CE-2F6D2B025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MQTT via </a:t>
            </a:r>
            <a:r>
              <a:rPr lang="en-SG" dirty="0" err="1"/>
              <a:t>Mosquitto</a:t>
            </a:r>
            <a:r>
              <a:rPr lang="en-SG" dirty="0"/>
              <a:t> broke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1BCE77-3531-457B-B72F-599A3F7CDE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3F82A8-C55E-4BDB-AB22-A1A093E9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47601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BD7BE7-E8F6-4404-90CE-2F6D2B025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nect to WPA2 Wi-Fi network</a:t>
            </a:r>
            <a:endParaRPr lang="en-SG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1BCE77-3531-457B-B72F-599A3F7CDE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3F82A8-C55E-4BDB-AB22-A1A093E9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4963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5A41316-60B4-450B-9198-2E47C40B4AB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63352" y="1268414"/>
            <a:ext cx="4753088" cy="5113337"/>
          </a:xfrm>
        </p:spPr>
        <p:txBody>
          <a:bodyPr/>
          <a:lstStyle/>
          <a:p>
            <a:endParaRPr lang="en-SG" dirty="0"/>
          </a:p>
          <a:p>
            <a:r>
              <a:rPr lang="en-SG" dirty="0"/>
              <a:t>Understand the concept of public key cryptography</a:t>
            </a:r>
          </a:p>
          <a:p>
            <a:endParaRPr lang="en-SG" dirty="0"/>
          </a:p>
          <a:p>
            <a:r>
              <a:rPr lang="en-SG" dirty="0"/>
              <a:t>To generate key pairs and certificate signing request</a:t>
            </a:r>
          </a:p>
          <a:p>
            <a:endParaRPr lang="en-SG" dirty="0"/>
          </a:p>
          <a:p>
            <a:r>
              <a:rPr lang="en-SG" dirty="0"/>
              <a:t>Review the code for MQTT connection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FB8BE30-949B-40FC-AD98-7FCCE5CFF3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Objectiv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BFE309-1678-4F9C-BDEF-CA2EDDB98CA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277175-59DF-4589-BD92-D4064C443F6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94E07C5-E162-4282-8C8F-99DD059670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4695" y="4711616"/>
            <a:ext cx="2839935" cy="147383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37A3CFB-FFE0-4642-AA47-56D4668627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46608" y="2711674"/>
            <a:ext cx="1571534" cy="1707620"/>
          </a:xfrm>
          <a:prstGeom prst="rect">
            <a:avLst/>
          </a:prstGeom>
        </p:spPr>
      </p:pic>
      <p:pic>
        <p:nvPicPr>
          <p:cNvPr id="1026" name="Picture 2" descr="C:\MTB_PSoC6_HOT\WiFi_Connect\bsps\TARGET_APP_CY8CKIT-062S2-43012\docs\html\board.png">
            <a:extLst>
              <a:ext uri="{FF2B5EF4-FFF2-40B4-BE49-F238E27FC236}">
                <a16:creationId xmlns:a16="http://schemas.microsoft.com/office/drawing/2014/main" id="{FEDCB28B-27F5-4944-9F02-549685E1C6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0937" y="2717094"/>
            <a:ext cx="2252174" cy="1554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90+ Free Wifi Symbol &amp; Wifi Images - Pixabay">
            <a:extLst>
              <a:ext uri="{FF2B5EF4-FFF2-40B4-BE49-F238E27FC236}">
                <a16:creationId xmlns:a16="http://schemas.microsoft.com/office/drawing/2014/main" id="{E841A38D-3981-45AC-97A7-666D072F90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637" y="2912850"/>
            <a:ext cx="681991" cy="467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Arrow: Left-Right 7">
            <a:extLst>
              <a:ext uri="{FF2B5EF4-FFF2-40B4-BE49-F238E27FC236}">
                <a16:creationId xmlns:a16="http://schemas.microsoft.com/office/drawing/2014/main" id="{B8AFCB44-4751-4107-9918-D8C7D4ACA843}"/>
              </a:ext>
            </a:extLst>
          </p:cNvPr>
          <p:cNvSpPr/>
          <p:nvPr/>
        </p:nvSpPr>
        <p:spPr bwMode="auto">
          <a:xfrm>
            <a:off x="7448301" y="3506233"/>
            <a:ext cx="1403819" cy="192981"/>
          </a:xfrm>
          <a:prstGeom prst="leftRightArrow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SG" sz="1600" baseline="0" dirty="0">
              <a:latin typeface="+mn-lt"/>
              <a:ea typeface="+mn-ea"/>
              <a:cs typeface="+mn-cs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BBA0273-ADBB-4CC9-8FD4-2673C9F0C03C}"/>
              </a:ext>
            </a:extLst>
          </p:cNvPr>
          <p:cNvCxnSpPr>
            <a:cxnSpLocks/>
          </p:cNvCxnSpPr>
          <p:nvPr/>
        </p:nvCxnSpPr>
        <p:spPr>
          <a:xfrm>
            <a:off x="6325347" y="4271189"/>
            <a:ext cx="0" cy="41005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7977A6D3-B860-4203-9A65-67AB7A295C5C}"/>
              </a:ext>
            </a:extLst>
          </p:cNvPr>
          <p:cNvSpPr txBox="1"/>
          <p:nvPr/>
        </p:nvSpPr>
        <p:spPr bwMode="auto">
          <a:xfrm>
            <a:off x="6540457" y="4351576"/>
            <a:ext cx="2252181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SG" sz="1400" kern="0" baseline="0" dirty="0">
                <a:latin typeface="+mn-lt"/>
                <a:ea typeface="+mn-ea"/>
                <a:cs typeface="+mn-cs"/>
              </a:rPr>
              <a:t>Connection update to PC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D943268-585B-4B27-8A4A-221041FD59C1}"/>
              </a:ext>
            </a:extLst>
          </p:cNvPr>
          <p:cNvSpPr/>
          <p:nvPr/>
        </p:nvSpPr>
        <p:spPr>
          <a:xfrm>
            <a:off x="8738669" y="2409243"/>
            <a:ext cx="178741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SG" b="1" dirty="0">
                <a:latin typeface="+mn-lt"/>
              </a:rPr>
              <a:t>Wi-Fi Access Poin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8825160-D824-406A-B4E0-6ADFF5B22E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62332" y="1065888"/>
            <a:ext cx="2259265" cy="48661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AE587F1-6EFA-4698-8828-CB3A88D9186D}"/>
              </a:ext>
            </a:extLst>
          </p:cNvPr>
          <p:cNvSpPr/>
          <p:nvPr/>
        </p:nvSpPr>
        <p:spPr>
          <a:xfrm>
            <a:off x="8522523" y="1423986"/>
            <a:ext cx="219322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SG" dirty="0"/>
              <a:t>https://test.mosquitto.org/</a:t>
            </a:r>
          </a:p>
        </p:txBody>
      </p:sp>
      <p:sp>
        <p:nvSpPr>
          <p:cNvPr id="17" name="Arrow: Left-Right 16">
            <a:extLst>
              <a:ext uri="{FF2B5EF4-FFF2-40B4-BE49-F238E27FC236}">
                <a16:creationId xmlns:a16="http://schemas.microsoft.com/office/drawing/2014/main" id="{25C789B5-01FE-4706-957D-6951271E047A}"/>
              </a:ext>
            </a:extLst>
          </p:cNvPr>
          <p:cNvSpPr/>
          <p:nvPr/>
        </p:nvSpPr>
        <p:spPr bwMode="auto">
          <a:xfrm rot="16200000">
            <a:off x="9226767" y="1994587"/>
            <a:ext cx="730394" cy="186489"/>
          </a:xfrm>
          <a:prstGeom prst="leftRightArrow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SG" sz="160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18" name="Rectangle: Folded Corner 17">
            <a:extLst>
              <a:ext uri="{FF2B5EF4-FFF2-40B4-BE49-F238E27FC236}">
                <a16:creationId xmlns:a16="http://schemas.microsoft.com/office/drawing/2014/main" id="{21BFF0DF-3586-4F62-9D13-577895623515}"/>
              </a:ext>
            </a:extLst>
          </p:cNvPr>
          <p:cNvSpPr/>
          <p:nvPr/>
        </p:nvSpPr>
        <p:spPr bwMode="auto">
          <a:xfrm>
            <a:off x="5240296" y="1857823"/>
            <a:ext cx="560457" cy="521044"/>
          </a:xfrm>
          <a:prstGeom prst="foldedCorner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en-SG" sz="1000" b="1" baseline="0" dirty="0">
                <a:latin typeface="+mn-lt"/>
                <a:ea typeface="+mn-ea"/>
                <a:cs typeface="+mn-cs"/>
              </a:rPr>
              <a:t>Client </a:t>
            </a:r>
          </a:p>
          <a:p>
            <a:pPr algn="ctr" eaLnBrk="0" hangingPunct="0"/>
            <a:r>
              <a:rPr lang="en-SG" sz="1000" b="1" baseline="0" dirty="0">
                <a:latin typeface="+mn-lt"/>
                <a:ea typeface="+mn-ea"/>
                <a:cs typeface="+mn-cs"/>
              </a:rPr>
              <a:t>cert</a:t>
            </a:r>
          </a:p>
        </p:txBody>
      </p:sp>
      <p:sp>
        <p:nvSpPr>
          <p:cNvPr id="21" name="Rectangle: Folded Corner 20">
            <a:extLst>
              <a:ext uri="{FF2B5EF4-FFF2-40B4-BE49-F238E27FC236}">
                <a16:creationId xmlns:a16="http://schemas.microsoft.com/office/drawing/2014/main" id="{4FE96EE7-2925-44F7-AC82-AD1B8B5F0C75}"/>
              </a:ext>
            </a:extLst>
          </p:cNvPr>
          <p:cNvSpPr/>
          <p:nvPr/>
        </p:nvSpPr>
        <p:spPr bwMode="auto">
          <a:xfrm>
            <a:off x="8377618" y="1857823"/>
            <a:ext cx="560457" cy="521044"/>
          </a:xfrm>
          <a:prstGeom prst="foldedCorner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en-SG" sz="1000" b="1" baseline="0" dirty="0" err="1">
                <a:latin typeface="+mn-lt"/>
                <a:ea typeface="+mn-ea"/>
                <a:cs typeface="+mn-cs"/>
              </a:rPr>
              <a:t>ClientCSR</a:t>
            </a:r>
            <a:endParaRPr lang="en-SG" sz="1000" b="1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22" name="Rectangle: Folded Corner 21">
            <a:extLst>
              <a:ext uri="{FF2B5EF4-FFF2-40B4-BE49-F238E27FC236}">
                <a16:creationId xmlns:a16="http://schemas.microsoft.com/office/drawing/2014/main" id="{D630958C-2280-46D9-894E-2A0CCF897FF9}"/>
              </a:ext>
            </a:extLst>
          </p:cNvPr>
          <p:cNvSpPr/>
          <p:nvPr/>
        </p:nvSpPr>
        <p:spPr bwMode="auto">
          <a:xfrm>
            <a:off x="5234696" y="1286218"/>
            <a:ext cx="560457" cy="521044"/>
          </a:xfrm>
          <a:prstGeom prst="foldedCorner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en-SG" sz="1000" b="1" dirty="0" err="1">
                <a:latin typeface="+mn-lt"/>
              </a:rPr>
              <a:t>c</a:t>
            </a:r>
            <a:r>
              <a:rPr lang="en-SG" sz="1000" b="1" baseline="0" dirty="0" err="1">
                <a:latin typeface="+mn-lt"/>
                <a:ea typeface="+mn-ea"/>
                <a:cs typeface="+mn-cs"/>
              </a:rPr>
              <a:t>lient.key</a:t>
            </a:r>
            <a:endParaRPr lang="en-SG" sz="1000" b="1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Rectangle: Folded Corner 22">
            <a:extLst>
              <a:ext uri="{FF2B5EF4-FFF2-40B4-BE49-F238E27FC236}">
                <a16:creationId xmlns:a16="http://schemas.microsoft.com/office/drawing/2014/main" id="{026BF1AC-4FA0-4F7E-BBBB-8C84B2C5F6C8}"/>
              </a:ext>
            </a:extLst>
          </p:cNvPr>
          <p:cNvSpPr/>
          <p:nvPr/>
        </p:nvSpPr>
        <p:spPr bwMode="auto">
          <a:xfrm>
            <a:off x="6030808" y="1296586"/>
            <a:ext cx="560457" cy="521044"/>
          </a:xfrm>
          <a:prstGeom prst="foldedCorner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en-SG" sz="1000" b="1" baseline="0" dirty="0">
                <a:latin typeface="+mn-lt"/>
                <a:ea typeface="+mn-ea"/>
                <a:cs typeface="+mn-cs"/>
              </a:rPr>
              <a:t>CA</a:t>
            </a:r>
          </a:p>
          <a:p>
            <a:pPr algn="ctr" eaLnBrk="0" hangingPunct="0"/>
            <a:r>
              <a:rPr lang="en-SG" sz="1000" b="1" dirty="0">
                <a:latin typeface="+mn-lt"/>
              </a:rPr>
              <a:t>cert</a:t>
            </a:r>
            <a:endParaRPr lang="en-SG" sz="1000" b="1" baseline="0" dirty="0">
              <a:latin typeface="+mn-lt"/>
              <a:ea typeface="+mn-ea"/>
              <a:cs typeface="+mn-cs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645E3EB-D077-4318-B7C9-BECBC3A66D81}"/>
              </a:ext>
            </a:extLst>
          </p:cNvPr>
          <p:cNvCxnSpPr>
            <a:cxnSpLocks/>
            <a:stCxn id="21" idx="1"/>
            <a:endCxn id="18" idx="3"/>
          </p:cNvCxnSpPr>
          <p:nvPr/>
        </p:nvCxnSpPr>
        <p:spPr>
          <a:xfrm flipH="1">
            <a:off x="5800753" y="2118345"/>
            <a:ext cx="2576865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57C91DD2-FF3C-4834-87C1-96A8B1AA6308}"/>
              </a:ext>
            </a:extLst>
          </p:cNvPr>
          <p:cNvCxnSpPr>
            <a:cxnSpLocks/>
          </p:cNvCxnSpPr>
          <p:nvPr/>
        </p:nvCxnSpPr>
        <p:spPr>
          <a:xfrm flipH="1">
            <a:off x="6591266" y="1510307"/>
            <a:ext cx="1786352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6BDB972B-E451-471C-BB9E-55D499AA4398}"/>
              </a:ext>
            </a:extLst>
          </p:cNvPr>
          <p:cNvSpPr txBox="1"/>
          <p:nvPr/>
        </p:nvSpPr>
        <p:spPr bwMode="auto">
          <a:xfrm>
            <a:off x="10526081" y="1857823"/>
            <a:ext cx="1690599" cy="730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180000" marR="0" indent="-18000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›"/>
              <a:tabLst/>
            </a:pPr>
            <a:r>
              <a:rPr lang="en-SG" kern="0" dirty="0">
                <a:latin typeface="+mn-lt"/>
              </a:rPr>
              <a:t>Return command to toggle LED when button 1 is pressed</a:t>
            </a:r>
            <a:endParaRPr lang="en-SG" sz="1400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69969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D16AFA5-01B0-40FA-84BA-188E5F9660D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5577" y="1110288"/>
            <a:ext cx="5710423" cy="5271463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SG" dirty="0"/>
              <a:t>Create a new </a:t>
            </a:r>
            <a:r>
              <a:rPr lang="en-SG" dirty="0" err="1"/>
              <a:t>WiFi_MQTT_Client</a:t>
            </a:r>
            <a:r>
              <a:rPr lang="en-SG" dirty="0"/>
              <a:t> application</a:t>
            </a:r>
          </a:p>
          <a:p>
            <a:pPr marL="457200" indent="-457200">
              <a:buFont typeface="+mj-lt"/>
              <a:buAutoNum type="arabicPeriod"/>
            </a:pPr>
            <a:endParaRPr lang="en-SG" dirty="0"/>
          </a:p>
          <a:p>
            <a:pPr marL="457200" indent="-457200">
              <a:buFont typeface="+mj-lt"/>
              <a:buAutoNum type="arabicPeriod"/>
            </a:pPr>
            <a:r>
              <a:rPr lang="en-SG" dirty="0"/>
              <a:t>Use your mobile hotspot as access point. Edit “</a:t>
            </a:r>
            <a:r>
              <a:rPr lang="en-SG" b="1" dirty="0" err="1"/>
              <a:t>wifi_config.h</a:t>
            </a:r>
            <a:r>
              <a:rPr lang="en-SG" dirty="0"/>
              <a:t>” to match your mobile SSID setting</a:t>
            </a:r>
          </a:p>
          <a:p>
            <a:pPr marL="784350" lvl="1" indent="-514350">
              <a:buFont typeface="+mj-lt"/>
              <a:buAutoNum type="romanLcPeriod"/>
            </a:pPr>
            <a:r>
              <a:rPr lang="en-SG" dirty="0"/>
              <a:t>#define WIFI_SSID “</a:t>
            </a:r>
            <a:r>
              <a:rPr lang="en-SG" dirty="0" err="1"/>
              <a:t>mobile_ssid</a:t>
            </a:r>
            <a:r>
              <a:rPr lang="en-SG" dirty="0"/>
              <a:t>”</a:t>
            </a:r>
          </a:p>
          <a:p>
            <a:pPr marL="784350" lvl="1" indent="-514350">
              <a:buFont typeface="+mj-lt"/>
              <a:buAutoNum type="romanLcPeriod"/>
            </a:pPr>
            <a:r>
              <a:rPr lang="en-SG" dirty="0"/>
              <a:t>#define WIFI_PASSWORD “password”</a:t>
            </a:r>
          </a:p>
          <a:p>
            <a:endParaRPr lang="en-SG" dirty="0"/>
          </a:p>
          <a:p>
            <a:endParaRPr lang="en-SG" dirty="0"/>
          </a:p>
          <a:p>
            <a:endParaRPr lang="en-SG" dirty="0"/>
          </a:p>
          <a:p>
            <a:endParaRPr lang="en-SG" dirty="0"/>
          </a:p>
          <a:p>
            <a:endParaRPr lang="en-SG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C9BFEE2-BA88-43A6-8623-F564D4FA5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Edit </a:t>
            </a:r>
            <a:r>
              <a:rPr lang="en-SG" dirty="0" err="1"/>
              <a:t>wifi_config.h</a:t>
            </a:r>
            <a:endParaRPr lang="en-SG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B55ED0-EDA2-4B2A-BE8B-E7F257EC169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915826-024C-4155-AD7D-344530D533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3530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D16AFA5-01B0-40FA-84BA-188E5F9660D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5577" y="1110289"/>
            <a:ext cx="5710423" cy="2030680"/>
          </a:xfrm>
        </p:spPr>
        <p:txBody>
          <a:bodyPr/>
          <a:lstStyle>
            <a:lvl1pPr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</a:lvl1pPr>
            <a:lvl2pPr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</a:lvl2pPr>
            <a:lvl3pPr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</a:lvl3pPr>
            <a:lvl4pPr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</a:lvl4pPr>
            <a:lvl5pPr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</a:lvl5pPr>
            <a:lvl6pPr>
              <a:buClr>
                <a:schemeClr val="accent1"/>
              </a:buClr>
              <a:buFont typeface="Arial" panose="020B0604020202020204" pitchFamily="34" charset="0"/>
              <a:buChar char="–"/>
            </a:lvl6pPr>
            <a:lvl7pPr>
              <a:buClr>
                <a:schemeClr val="accent1"/>
              </a:buClr>
              <a:buFont typeface="Arial" panose="020B0604020202020204" pitchFamily="34" charset="0"/>
              <a:buChar char="–"/>
            </a:lvl7pPr>
            <a:lvl8pPr>
              <a:buClr>
                <a:schemeClr val="accent1"/>
              </a:buClr>
              <a:buFont typeface="Arial" panose="020B0604020202020204" pitchFamily="34" charset="0"/>
              <a:buChar char="–"/>
            </a:lvl8pPr>
            <a:lvl9pPr>
              <a:buClr>
                <a:schemeClr val="accent1"/>
              </a:buClr>
              <a:buFont typeface="Arial" panose="020B0604020202020204" pitchFamily="34" charset="0"/>
              <a:buChar char="–"/>
            </a:lvl9pPr>
          </a:lstStyle>
          <a:p>
            <a:pPr marL="514350" indent="-514350">
              <a:buFont typeface="+mj-lt"/>
              <a:buAutoNum type="arabicPeriod" startAt="3"/>
            </a:pPr>
            <a:r>
              <a:rPr lang="en-SG" dirty="0"/>
              <a:t>Run the following commands with Terminal</a:t>
            </a:r>
          </a:p>
          <a:p>
            <a:pPr marL="514350" indent="-514350">
              <a:buNone/>
            </a:pPr>
            <a:r>
              <a:rPr lang="en-SG" dirty="0"/>
              <a:t>to generate the Client key (</a:t>
            </a:r>
            <a:r>
              <a:rPr lang="en-SG" dirty="0" err="1"/>
              <a:t>Client.key</a:t>
            </a:r>
            <a:r>
              <a:rPr lang="en-SG" dirty="0"/>
              <a:t>).</a:t>
            </a:r>
          </a:p>
          <a:p>
            <a:pPr marL="270000" lvl="1" indent="0">
              <a:buNone/>
            </a:pPr>
            <a:endParaRPr lang="en-SG" dirty="0"/>
          </a:p>
          <a:p>
            <a:pPr marL="784350" lvl="1" indent="-514350">
              <a:buFont typeface="+mj-lt"/>
              <a:buAutoNum type="romanLcPeriod"/>
            </a:pPr>
            <a:r>
              <a:rPr lang="en-SG" dirty="0" err="1"/>
              <a:t>openssl</a:t>
            </a:r>
            <a:r>
              <a:rPr lang="en-SG" dirty="0"/>
              <a:t> </a:t>
            </a:r>
            <a:r>
              <a:rPr lang="en-SG" dirty="0" err="1"/>
              <a:t>genrsa</a:t>
            </a:r>
            <a:r>
              <a:rPr lang="en-SG" dirty="0"/>
              <a:t> –out </a:t>
            </a:r>
            <a:r>
              <a:rPr lang="en-SG" dirty="0" err="1"/>
              <a:t>client.key</a:t>
            </a:r>
            <a:r>
              <a:rPr lang="en-SG" dirty="0"/>
              <a:t> 2048</a:t>
            </a:r>
          </a:p>
          <a:p>
            <a:pPr marL="270000" lvl="1" indent="0">
              <a:buNone/>
            </a:pPr>
            <a:endParaRPr lang="en-SG" dirty="0"/>
          </a:p>
          <a:p>
            <a:pPr>
              <a:buNone/>
            </a:pPr>
            <a:endParaRPr lang="en-SG" dirty="0"/>
          </a:p>
          <a:p>
            <a:pPr>
              <a:buNone/>
            </a:pPr>
            <a:endParaRPr lang="en-SG" dirty="0"/>
          </a:p>
          <a:p>
            <a:pPr>
              <a:buNone/>
            </a:pPr>
            <a:endParaRPr lang="en-SG" dirty="0"/>
          </a:p>
          <a:p>
            <a:pPr>
              <a:buNone/>
            </a:pPr>
            <a:endParaRPr lang="en-SG" dirty="0"/>
          </a:p>
          <a:p>
            <a:pPr>
              <a:buNone/>
            </a:pPr>
            <a:endParaRPr lang="en-SG" dirty="0"/>
          </a:p>
          <a:p>
            <a:pPr>
              <a:buNone/>
            </a:pPr>
            <a:endParaRPr lang="en-SG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C9BFEE2-BA88-43A6-8623-F564D4FA5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Generate Client ke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B55ED0-EDA2-4B2A-BE8B-E7F257EC169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915826-024C-4155-AD7D-344530D533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EC9F0E7-0F58-4350-AE34-472901F73A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3512" y="3495410"/>
            <a:ext cx="4894704" cy="156101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0B5A4C1-CE4A-41E8-A0BB-35DB5B1CE6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74111" y="1727729"/>
            <a:ext cx="1524000" cy="2800350"/>
          </a:xfrm>
          <a:prstGeom prst="rect">
            <a:avLst/>
          </a:prstGeom>
        </p:spPr>
      </p:pic>
      <p:sp>
        <p:nvSpPr>
          <p:cNvPr id="9" name="Arrow: Right 8">
            <a:extLst>
              <a:ext uri="{FF2B5EF4-FFF2-40B4-BE49-F238E27FC236}">
                <a16:creationId xmlns:a16="http://schemas.microsoft.com/office/drawing/2014/main" id="{5987335B-537D-4D4E-8F0A-C8120D84BE80}"/>
              </a:ext>
            </a:extLst>
          </p:cNvPr>
          <p:cNvSpPr/>
          <p:nvPr/>
        </p:nvSpPr>
        <p:spPr bwMode="auto">
          <a:xfrm>
            <a:off x="6837311" y="3726774"/>
            <a:ext cx="636800" cy="504056"/>
          </a:xfrm>
          <a:prstGeom prst="rightArrow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SG" sz="160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338817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907033F-3116-4314-A858-814AA7B329F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800" y="1268414"/>
            <a:ext cx="6193248" cy="5184921"/>
          </a:xfrm>
        </p:spPr>
        <p:txBody>
          <a:bodyPr/>
          <a:lstStyle/>
          <a:p>
            <a:pPr marL="270000" lvl="1" indent="0">
              <a:buNone/>
            </a:pPr>
            <a:r>
              <a:rPr lang="en-SG" dirty="0"/>
              <a:t>Generate the Client certificate (</a:t>
            </a:r>
            <a:r>
              <a:rPr lang="en-US" dirty="0" err="1"/>
              <a:t>client.csr</a:t>
            </a:r>
            <a:r>
              <a:rPr lang="en-US" dirty="0"/>
              <a:t>)</a:t>
            </a:r>
            <a:r>
              <a:rPr lang="en-SG" dirty="0"/>
              <a:t> with the following commands</a:t>
            </a:r>
          </a:p>
          <a:p>
            <a:pPr marL="270000" lvl="1" indent="0">
              <a:buNone/>
            </a:pPr>
            <a:endParaRPr lang="en-SG" dirty="0"/>
          </a:p>
          <a:p>
            <a:pPr marL="784350" lvl="1" indent="-514350">
              <a:buFont typeface="+mj-lt"/>
              <a:buAutoNum type="romanLcPeriod" startAt="2"/>
            </a:pPr>
            <a:r>
              <a:rPr lang="en-SG" dirty="0" err="1"/>
              <a:t>openssl</a:t>
            </a:r>
            <a:r>
              <a:rPr lang="en-SG" dirty="0"/>
              <a:t> </a:t>
            </a:r>
            <a:r>
              <a:rPr lang="en-SG" dirty="0" err="1"/>
              <a:t>req</a:t>
            </a:r>
            <a:r>
              <a:rPr lang="en-SG" dirty="0"/>
              <a:t> –out </a:t>
            </a:r>
            <a:r>
              <a:rPr lang="en-SG" dirty="0" err="1"/>
              <a:t>client.csr</a:t>
            </a:r>
            <a:r>
              <a:rPr lang="en-SG" dirty="0"/>
              <a:t> –key </a:t>
            </a:r>
            <a:r>
              <a:rPr lang="en-SG" dirty="0" err="1"/>
              <a:t>client.key</a:t>
            </a:r>
            <a:r>
              <a:rPr lang="en-SG" dirty="0"/>
              <a:t> –new </a:t>
            </a:r>
          </a:p>
          <a:p>
            <a:pPr marL="727200" lvl="1" indent="-457200">
              <a:buAutoNum type="romanLcPeriod" startAt="2"/>
            </a:pPr>
            <a:r>
              <a:rPr lang="en-SG" dirty="0"/>
              <a:t>Enter info required for the certificate signing request</a:t>
            </a:r>
          </a:p>
          <a:p>
            <a:endParaRPr lang="en-SG" dirty="0"/>
          </a:p>
          <a:p>
            <a:endParaRPr lang="en-SG" dirty="0"/>
          </a:p>
          <a:p>
            <a:endParaRPr lang="en-SG" dirty="0"/>
          </a:p>
          <a:p>
            <a:endParaRPr lang="en-SG" dirty="0"/>
          </a:p>
          <a:p>
            <a:pPr marL="457200" indent="-457200">
              <a:buFont typeface="+mj-lt"/>
              <a:buAutoNum type="arabicPeriod" startAt="4"/>
            </a:pPr>
            <a:r>
              <a:rPr lang="en-US" dirty="0"/>
              <a:t>Open </a:t>
            </a:r>
            <a:r>
              <a:rPr lang="en-US" dirty="0" err="1"/>
              <a:t>client.csr</a:t>
            </a:r>
            <a:r>
              <a:rPr lang="en-US" dirty="0"/>
              <a:t>, copy and paste content to </a:t>
            </a:r>
            <a:r>
              <a:rPr lang="en-US" dirty="0">
                <a:hlinkClick r:id="rId2"/>
              </a:rPr>
              <a:t>https://test.mosquitto.org/ssl/</a:t>
            </a:r>
            <a:endParaRPr lang="en-US" dirty="0"/>
          </a:p>
          <a:p>
            <a:endParaRPr lang="en-US" dirty="0"/>
          </a:p>
          <a:p>
            <a:pPr marL="784350" lvl="1" indent="-514350">
              <a:buFont typeface="+mj-lt"/>
              <a:buAutoNum type="romanLcPeriod"/>
            </a:pPr>
            <a:r>
              <a:rPr lang="en-US" dirty="0"/>
              <a:t>Save the generated client certificate into the project root folder</a:t>
            </a:r>
          </a:p>
          <a:p>
            <a:pPr marL="270000" lvl="1" indent="0">
              <a:buNone/>
            </a:pPr>
            <a:endParaRPr lang="en-SG" dirty="0"/>
          </a:p>
          <a:p>
            <a:endParaRPr lang="en-SG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32372EA-097A-4202-8F8A-10E2B3949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Generate Client Certificat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A58FD8-D7CC-4D6F-BA7D-1A9E4105DC4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C9991F-FE4E-44F0-BF7B-BE5659B0E8D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78AED3D-1221-4702-BF49-2145E7C32D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16080" y="1084061"/>
            <a:ext cx="5041120" cy="259848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9B17E3D-69D2-4EFB-AF05-A45492F58F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19271" y="3717032"/>
            <a:ext cx="1440160" cy="252027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8EF6274-2E90-464A-8058-0DCB8B8D62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0" y="3860874"/>
            <a:ext cx="4096427" cy="2545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3507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5CE5D5-6492-4A3D-A6D1-644BA7047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wnload CA certificate</a:t>
            </a:r>
            <a:endParaRPr lang="en-SG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234403-BB8E-4008-87DE-0DF679E6C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0607C8-724F-4418-8DDE-1CA3D05FE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E05DA0A-3B86-4BB7-A895-DEFDF2763635}"/>
              </a:ext>
            </a:extLst>
          </p:cNvPr>
          <p:cNvSpPr/>
          <p:nvPr/>
        </p:nvSpPr>
        <p:spPr>
          <a:xfrm>
            <a:off x="479376" y="1412776"/>
            <a:ext cx="98650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 startAt="5"/>
            </a:pPr>
            <a:r>
              <a:rPr lang="en-US" sz="1600" dirty="0"/>
              <a:t>Download CA certificate from </a:t>
            </a:r>
            <a:r>
              <a:rPr lang="en-US" sz="1600" dirty="0">
                <a:hlinkClick r:id="rId2"/>
              </a:rPr>
              <a:t>http://test.mosquitto.org/ssl/mosquitto.org.crt</a:t>
            </a:r>
            <a:r>
              <a:rPr lang="en-US" sz="1600" dirty="0"/>
              <a:t> and save it to project root folde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429714C-A20B-406D-85B2-B6A41E883A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9456" y="3003852"/>
            <a:ext cx="3430387" cy="161037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5450400-100D-4802-8FEF-BAC9D65DA2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16080" y="2060848"/>
            <a:ext cx="2058777" cy="4117554"/>
          </a:xfrm>
          <a:prstGeom prst="rect">
            <a:avLst/>
          </a:prstGeom>
        </p:spPr>
      </p:pic>
      <p:sp>
        <p:nvSpPr>
          <p:cNvPr id="9" name="Arrow: Right 8">
            <a:extLst>
              <a:ext uri="{FF2B5EF4-FFF2-40B4-BE49-F238E27FC236}">
                <a16:creationId xmlns:a16="http://schemas.microsoft.com/office/drawing/2014/main" id="{56C54C5E-D47B-4001-B5E0-2BB7793E75FA}"/>
              </a:ext>
            </a:extLst>
          </p:cNvPr>
          <p:cNvSpPr/>
          <p:nvPr/>
        </p:nvSpPr>
        <p:spPr bwMode="auto">
          <a:xfrm>
            <a:off x="4943872" y="3645024"/>
            <a:ext cx="720080" cy="720000"/>
          </a:xfrm>
          <a:prstGeom prst="rightArrow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SG" sz="160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57610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5D7C61-8A41-4E18-BAE5-907A534F4E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Edit file </a:t>
            </a:r>
            <a:r>
              <a:rPr lang="en-US" dirty="0" err="1"/>
              <a:t>mqtt_client.h</a:t>
            </a:r>
            <a:endParaRPr lang="en-SG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CB29B49-A83D-4019-9836-296C6FBF0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915316-3B25-4036-ADF6-AAE560182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25C6C-614A-4D70-B313-7ADCEE25F184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AFC42FB-0593-4063-ACCF-D31BD07905E7}"/>
              </a:ext>
            </a:extLst>
          </p:cNvPr>
          <p:cNvSpPr txBox="1"/>
          <p:nvPr/>
        </p:nvSpPr>
        <p:spPr bwMode="auto">
          <a:xfrm>
            <a:off x="263351" y="1124744"/>
            <a:ext cx="5832649" cy="2952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noAutofit/>
          </a:bodyPr>
          <a:lstStyle/>
          <a:p>
            <a:pPr marL="342900" indent="-34290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 startAt="6"/>
            </a:pPr>
            <a:r>
              <a:rPr lang="en-US" sz="1600" kern="0" dirty="0">
                <a:latin typeface="+mn-lt"/>
              </a:rPr>
              <a:t>Edit the following in “configs/</a:t>
            </a:r>
            <a:r>
              <a:rPr lang="en-US" sz="1600" kern="0" dirty="0" err="1">
                <a:latin typeface="+mn-lt"/>
              </a:rPr>
              <a:t>mqtt_client.h</a:t>
            </a:r>
            <a:r>
              <a:rPr lang="en-US" sz="1600" kern="0" dirty="0">
                <a:latin typeface="+mn-lt"/>
              </a:rPr>
              <a:t>”</a:t>
            </a:r>
          </a:p>
          <a:p>
            <a:pPr marL="1009635" lvl="1" indent="-40005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romanLcPeriod"/>
            </a:pPr>
            <a:r>
              <a:rPr lang="en-US" sz="1600" kern="0" dirty="0"/>
              <a:t>MQTT_BROKER_ADDRESS to “test.mosquitto.org” </a:t>
            </a:r>
          </a:p>
          <a:p>
            <a:pPr marL="1009635" lvl="1" indent="-40005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romanLcPeriod"/>
            </a:pPr>
            <a:r>
              <a:rPr lang="en-US" sz="1600" kern="0" dirty="0">
                <a:latin typeface="+mn-lt"/>
              </a:rPr>
              <a:t>Set the macros MQTT_PORT to 8884</a:t>
            </a:r>
          </a:p>
          <a:p>
            <a:pPr marL="1009635" lvl="1" indent="-40005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romanLcPeriod"/>
            </a:pPr>
            <a:r>
              <a:rPr lang="en-US" sz="1600" kern="0" dirty="0">
                <a:latin typeface="+mn-lt"/>
              </a:rPr>
              <a:t>MQTT_SECURE_CONNECTION to 1</a:t>
            </a:r>
          </a:p>
          <a:p>
            <a:pPr marL="1009635" lvl="1" indent="-40005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romanLcPeriod"/>
            </a:pPr>
            <a:r>
              <a:rPr lang="en-US" sz="1600" kern="0" dirty="0">
                <a:latin typeface="+mn-lt"/>
              </a:rPr>
              <a:t>MQTT_USERNAME to “”</a:t>
            </a:r>
          </a:p>
          <a:p>
            <a:pPr marL="1009635" lvl="1" indent="-40005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romanLcPeriod"/>
            </a:pPr>
            <a:r>
              <a:rPr lang="en-SG" sz="1600" dirty="0"/>
              <a:t>MQTT_PUB_TOPIC to “</a:t>
            </a:r>
            <a:r>
              <a:rPr lang="en-SG" sz="1600" dirty="0" err="1"/>
              <a:t>unique_topic</a:t>
            </a:r>
            <a:r>
              <a:rPr lang="en-SG" sz="1600" dirty="0"/>
              <a:t>”</a:t>
            </a:r>
          </a:p>
          <a:p>
            <a:pPr marL="1009635" lvl="1" indent="-40005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romanLcPeriod"/>
            </a:pPr>
            <a:r>
              <a:rPr lang="en-SG" sz="1600" dirty="0"/>
              <a:t>MQTT_SUB_TOPIC to “</a:t>
            </a:r>
            <a:r>
              <a:rPr lang="en-SG" sz="1600" dirty="0" err="1"/>
              <a:t>unique_topic</a:t>
            </a:r>
            <a:r>
              <a:rPr lang="en-SG" sz="1600" dirty="0"/>
              <a:t>”</a:t>
            </a:r>
          </a:p>
          <a:p>
            <a:pPr marL="1009635" lvl="1" indent="-40005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romanLcPeriod"/>
            </a:pPr>
            <a:r>
              <a:rPr lang="en-US" sz="1600" kern="0" dirty="0"/>
              <a:t>MQTT_SNI_HOSTNAME  to “test.mosquitto.org”</a:t>
            </a:r>
          </a:p>
          <a:p>
            <a:pPr marL="1009635" lvl="1" indent="-40005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romanLcPeriod"/>
            </a:pPr>
            <a:endParaRPr lang="en-SG" sz="1600" dirty="0"/>
          </a:p>
          <a:p>
            <a:pPr marL="1009635" lvl="1" indent="-40005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romanLcPeriod"/>
            </a:pPr>
            <a:endParaRPr lang="en-US" sz="1600" kern="0" dirty="0">
              <a:latin typeface="+mn-lt"/>
            </a:endParaRPr>
          </a:p>
          <a:p>
            <a:pPr marL="342900" indent="-34290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 startAt="6"/>
            </a:pPr>
            <a:endParaRPr lang="en-SG" sz="1600" kern="0" dirty="0"/>
          </a:p>
          <a:p>
            <a:pPr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</a:pPr>
            <a:endParaRPr lang="en-US" sz="1600" kern="0" dirty="0"/>
          </a:p>
          <a:p>
            <a:pPr marL="180000" indent="-18000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›"/>
            </a:pPr>
            <a:endParaRPr lang="en-US" kern="0" dirty="0">
              <a:latin typeface="+mn-lt"/>
            </a:endParaRPr>
          </a:p>
          <a:p>
            <a:pPr marL="180000" indent="-18000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›"/>
            </a:pPr>
            <a:endParaRPr lang="en-SG" kern="0" dirty="0">
              <a:latin typeface="+mn-lt"/>
            </a:endParaRPr>
          </a:p>
          <a:p>
            <a:pPr marL="180000" indent="-18000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›"/>
            </a:pPr>
            <a:endParaRPr lang="en-SG" sz="1400" kern="0" baseline="0" dirty="0">
              <a:latin typeface="+mn-lt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9E6EB51-6581-4363-AC68-BEF6F93A6E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68008" y="1124744"/>
            <a:ext cx="5637624" cy="279335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918E8EC-793A-4050-BE4A-635C1B7E2B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9853" y="5229200"/>
            <a:ext cx="4824536" cy="310449"/>
          </a:xfrm>
          <a:prstGeom prst="rect">
            <a:avLst/>
          </a:prstGeom>
        </p:spPr>
      </p:pic>
      <p:sp>
        <p:nvSpPr>
          <p:cNvPr id="8" name="Speech Bubble: Rectangle 7">
            <a:extLst>
              <a:ext uri="{FF2B5EF4-FFF2-40B4-BE49-F238E27FC236}">
                <a16:creationId xmlns:a16="http://schemas.microsoft.com/office/drawing/2014/main" id="{75EABBD8-40A7-4D13-8160-6352FE8E10DE}"/>
              </a:ext>
            </a:extLst>
          </p:cNvPr>
          <p:cNvSpPr/>
          <p:nvPr/>
        </p:nvSpPr>
        <p:spPr bwMode="auto">
          <a:xfrm>
            <a:off x="7780685" y="4302989"/>
            <a:ext cx="2412269" cy="360040"/>
          </a:xfrm>
          <a:prstGeom prst="wedgeRectCallout">
            <a:avLst>
              <a:gd name="adj1" fmla="val 11301"/>
              <a:gd name="adj2" fmla="val -163596"/>
            </a:avLst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en-SG" sz="1600" baseline="0" dirty="0">
                <a:latin typeface="+mn-lt"/>
                <a:ea typeface="+mn-ea"/>
                <a:cs typeface="+mn-cs"/>
              </a:rPr>
              <a:t>Use your own name</a:t>
            </a:r>
          </a:p>
        </p:txBody>
      </p:sp>
    </p:spTree>
    <p:extLst>
      <p:ext uri="{BB962C8B-B14F-4D97-AF65-F5344CB8AC3E}">
        <p14:creationId xmlns:p14="http://schemas.microsoft.com/office/powerpoint/2010/main" val="17356524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5D7C61-8A41-4E18-BAE5-907A534F4E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Edit file </a:t>
            </a:r>
            <a:r>
              <a:rPr lang="en-US" dirty="0" err="1"/>
              <a:t>mqtt_client.h</a:t>
            </a:r>
            <a:endParaRPr lang="en-SG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CB29B49-A83D-4019-9836-296C6FBF0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915316-3B25-4036-ADF6-AAE560182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25C6C-614A-4D70-B313-7ADCEE25F184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AFC42FB-0593-4063-ACCF-D31BD07905E7}"/>
              </a:ext>
            </a:extLst>
          </p:cNvPr>
          <p:cNvSpPr txBox="1"/>
          <p:nvPr/>
        </p:nvSpPr>
        <p:spPr bwMode="auto">
          <a:xfrm>
            <a:off x="430402" y="876100"/>
            <a:ext cx="6961741" cy="2187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noAutofit/>
          </a:bodyPr>
          <a:lstStyle/>
          <a:p>
            <a:pPr lvl="1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</a:pPr>
            <a:endParaRPr lang="en-US" sz="1600" kern="0" dirty="0">
              <a:latin typeface="+mn-lt"/>
            </a:endParaRPr>
          </a:p>
          <a:p>
            <a:pPr marL="342900" indent="-34290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 startAt="7"/>
            </a:pPr>
            <a:r>
              <a:rPr lang="en-SG" sz="1600" kern="0" dirty="0"/>
              <a:t>Open the </a:t>
            </a:r>
            <a:r>
              <a:rPr lang="en-SG" sz="1600" kern="0" dirty="0" err="1"/>
              <a:t>PEMfileToCstring</a:t>
            </a:r>
            <a:endParaRPr lang="en-SG" sz="1600" kern="0" dirty="0"/>
          </a:p>
          <a:p>
            <a:pPr marL="342900" indent="-34290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AutoNum type="arabicPeriod" startAt="7"/>
            </a:pPr>
            <a:endParaRPr lang="en-SG" sz="1600" kern="0" dirty="0"/>
          </a:p>
          <a:p>
            <a:pPr marL="342900" indent="-34290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AutoNum type="arabicPeriod" startAt="7"/>
            </a:pPr>
            <a:r>
              <a:rPr lang="en-SG" sz="1600" dirty="0"/>
              <a:t>Use PEM to C String Conversion Tool to </a:t>
            </a:r>
            <a:r>
              <a:rPr lang="en-SG" sz="1600" kern="0" dirty="0"/>
              <a:t>generate data format and copy to appropriate define in “</a:t>
            </a:r>
            <a:r>
              <a:rPr lang="en-SG" sz="1600" b="1" kern="0" dirty="0"/>
              <a:t>configs/</a:t>
            </a:r>
            <a:r>
              <a:rPr lang="en-SG" sz="1600" b="1" kern="0" dirty="0" err="1"/>
              <a:t>mqtt_client_config.h</a:t>
            </a:r>
            <a:r>
              <a:rPr lang="en-SG" sz="1600" kern="0" dirty="0"/>
              <a:t>” </a:t>
            </a:r>
          </a:p>
          <a:p>
            <a:pPr marL="1009635" lvl="1" indent="-40005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romanLcPeriod"/>
            </a:pPr>
            <a:r>
              <a:rPr lang="en-SG" sz="1600" kern="0" dirty="0"/>
              <a:t>client.crt -&gt; #define CLIENT_CERTIFICATE</a:t>
            </a:r>
          </a:p>
          <a:p>
            <a:pPr marL="1009635" lvl="1" indent="-40005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romanLcPeriod"/>
            </a:pPr>
            <a:r>
              <a:rPr lang="en-SG" sz="1600" kern="0" dirty="0" err="1"/>
              <a:t>client.key</a:t>
            </a:r>
            <a:r>
              <a:rPr lang="en-SG" sz="1600" kern="0" dirty="0"/>
              <a:t> -&gt; #define CLIENT_PRIVATE_KEY</a:t>
            </a:r>
          </a:p>
          <a:p>
            <a:pPr marL="1009635" lvl="1" indent="-40005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romanLcPeriod"/>
            </a:pPr>
            <a:r>
              <a:rPr lang="en-SG" sz="1600" kern="0" dirty="0"/>
              <a:t>mosquitto.org.crt -&gt; #define ROOT_CA_CERTIFICATE</a:t>
            </a:r>
          </a:p>
          <a:p>
            <a:pPr marL="342900" indent="-34290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 startAt="6"/>
            </a:pPr>
            <a:endParaRPr lang="en-SG" sz="1600" kern="0" dirty="0"/>
          </a:p>
          <a:p>
            <a:pPr marL="342900" indent="-34290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 startAt="6"/>
            </a:pPr>
            <a:endParaRPr lang="en-SG" sz="1600" kern="0" dirty="0"/>
          </a:p>
          <a:p>
            <a:pPr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</a:pPr>
            <a:endParaRPr lang="en-US" sz="1600" kern="0" dirty="0"/>
          </a:p>
          <a:p>
            <a:pPr marL="180000" indent="-18000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›"/>
            </a:pPr>
            <a:endParaRPr lang="en-US" kern="0" dirty="0">
              <a:latin typeface="+mn-lt"/>
            </a:endParaRPr>
          </a:p>
          <a:p>
            <a:pPr marL="180000" indent="-18000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›"/>
            </a:pPr>
            <a:endParaRPr lang="en-SG" kern="0" dirty="0">
              <a:latin typeface="+mn-lt"/>
            </a:endParaRPr>
          </a:p>
          <a:p>
            <a:pPr marL="180000" indent="-180000"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›"/>
            </a:pPr>
            <a:endParaRPr lang="en-SG" sz="1400" kern="0" baseline="0" dirty="0">
              <a:latin typeface="+mn-lt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456DB84-3EF6-4FA2-BB31-44D5DA2E84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8351" y="3215352"/>
            <a:ext cx="2232248" cy="3125848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1A8CDBF4-528B-4BA0-847E-9963B8423F23}"/>
              </a:ext>
            </a:extLst>
          </p:cNvPr>
          <p:cNvGrpSpPr/>
          <p:nvPr/>
        </p:nvGrpSpPr>
        <p:grpSpPr>
          <a:xfrm>
            <a:off x="5599454" y="3455593"/>
            <a:ext cx="5907888" cy="2977400"/>
            <a:chOff x="5350377" y="3363800"/>
            <a:chExt cx="5907888" cy="297740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DDD524B-FA12-4A36-BEE9-A606A87AB4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357893" y="3363800"/>
              <a:ext cx="5695602" cy="864096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A9CAFDB-4FDF-400C-B255-D2159EBCC7C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373277" y="4359790"/>
              <a:ext cx="5793542" cy="914770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ECBB7F5E-595C-4D39-B64C-17F055D9E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350377" y="5426430"/>
              <a:ext cx="5907888" cy="914770"/>
            </a:xfrm>
            <a:prstGeom prst="rect">
              <a:avLst/>
            </a:prstGeom>
          </p:spPr>
        </p:pic>
      </p:grp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A330FD77-0C01-4A91-8C06-111505EDBBC3}"/>
              </a:ext>
            </a:extLst>
          </p:cNvPr>
          <p:cNvSpPr/>
          <p:nvPr/>
        </p:nvSpPr>
        <p:spPr bwMode="auto">
          <a:xfrm>
            <a:off x="4687824" y="4451583"/>
            <a:ext cx="720080" cy="653386"/>
          </a:xfrm>
          <a:prstGeom prst="rightArrow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SG" sz="1600" baseline="0" dirty="0">
              <a:latin typeface="+mn-lt"/>
              <a:ea typeface="+mn-ea"/>
              <a:cs typeface="+mn-cs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E224E781-2BE5-43A5-BB62-95F2EDABFD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45820" y="1139026"/>
            <a:ext cx="2664296" cy="1313899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3C80EA50-1B1D-4FBF-8703-98F70F109D34}"/>
              </a:ext>
            </a:extLst>
          </p:cNvPr>
          <p:cNvSpPr/>
          <p:nvPr/>
        </p:nvSpPr>
        <p:spPr>
          <a:xfrm>
            <a:off x="1054913" y="4181429"/>
            <a:ext cx="901209" cy="307777"/>
          </a:xfrm>
          <a:prstGeom prst="rect">
            <a:avLst/>
          </a:prstGeom>
          <a:solidFill>
            <a:schemeClr val="accent3"/>
          </a:solidFill>
        </p:spPr>
        <p:txBody>
          <a:bodyPr wrap="none">
            <a:spAutoFit/>
          </a:bodyPr>
          <a:lstStyle/>
          <a:p>
            <a:r>
              <a:rPr lang="en-SG" kern="0" dirty="0"/>
              <a:t>client.crt </a:t>
            </a:r>
            <a:endParaRPr lang="en-SG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49D5D1B-2F03-454C-A6A9-7150C3993E66}"/>
              </a:ext>
            </a:extLst>
          </p:cNvPr>
          <p:cNvSpPr/>
          <p:nvPr/>
        </p:nvSpPr>
        <p:spPr>
          <a:xfrm>
            <a:off x="984680" y="4789275"/>
            <a:ext cx="981359" cy="307777"/>
          </a:xfrm>
          <a:prstGeom prst="rect">
            <a:avLst/>
          </a:prstGeom>
          <a:solidFill>
            <a:schemeClr val="accent3"/>
          </a:solidFill>
        </p:spPr>
        <p:txBody>
          <a:bodyPr wrap="none">
            <a:spAutoFit/>
          </a:bodyPr>
          <a:lstStyle/>
          <a:p>
            <a:r>
              <a:rPr lang="en-SG" kern="0" dirty="0" err="1"/>
              <a:t>client.key</a:t>
            </a:r>
            <a:r>
              <a:rPr lang="en-SG" kern="0" dirty="0"/>
              <a:t> </a:t>
            </a:r>
            <a:endParaRPr lang="en-SG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A97682A-E8DC-4693-B802-ECF83D0AE2C6}"/>
              </a:ext>
            </a:extLst>
          </p:cNvPr>
          <p:cNvSpPr/>
          <p:nvPr/>
        </p:nvSpPr>
        <p:spPr>
          <a:xfrm>
            <a:off x="399585" y="5332228"/>
            <a:ext cx="1566454" cy="307777"/>
          </a:xfrm>
          <a:prstGeom prst="rect">
            <a:avLst/>
          </a:prstGeom>
          <a:solidFill>
            <a:schemeClr val="accent3"/>
          </a:solidFill>
        </p:spPr>
        <p:txBody>
          <a:bodyPr wrap="none">
            <a:spAutoFit/>
          </a:bodyPr>
          <a:lstStyle/>
          <a:p>
            <a:r>
              <a:rPr lang="en-SG" kern="0" dirty="0"/>
              <a:t>mosquitto.org.crt </a:t>
            </a:r>
            <a:endParaRPr lang="en-SG" dirty="0"/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F6FB3B11-40BF-47B2-BFDB-F4D822E65472}"/>
              </a:ext>
            </a:extLst>
          </p:cNvPr>
          <p:cNvCxnSpPr>
            <a:stCxn id="26" idx="3"/>
          </p:cNvCxnSpPr>
          <p:nvPr/>
        </p:nvCxnSpPr>
        <p:spPr>
          <a:xfrm flipV="1">
            <a:off x="1956122" y="4335317"/>
            <a:ext cx="392229" cy="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E086BBB9-E16A-44AB-9D15-11AC02C466E7}"/>
              </a:ext>
            </a:extLst>
          </p:cNvPr>
          <p:cNvCxnSpPr>
            <a:stCxn id="27" idx="3"/>
          </p:cNvCxnSpPr>
          <p:nvPr/>
        </p:nvCxnSpPr>
        <p:spPr>
          <a:xfrm flipV="1">
            <a:off x="1966039" y="4943163"/>
            <a:ext cx="382312" cy="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EB8E42A5-1676-46CF-AFD8-A5F86474052D}"/>
              </a:ext>
            </a:extLst>
          </p:cNvPr>
          <p:cNvCxnSpPr>
            <a:stCxn id="28" idx="3"/>
          </p:cNvCxnSpPr>
          <p:nvPr/>
        </p:nvCxnSpPr>
        <p:spPr>
          <a:xfrm flipV="1">
            <a:off x="1966039" y="5486116"/>
            <a:ext cx="382312" cy="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val 34">
            <a:extLst>
              <a:ext uri="{FF2B5EF4-FFF2-40B4-BE49-F238E27FC236}">
                <a16:creationId xmlns:a16="http://schemas.microsoft.com/office/drawing/2014/main" id="{F171B6EC-BBEC-4618-ADDF-31B0335309F5}"/>
              </a:ext>
            </a:extLst>
          </p:cNvPr>
          <p:cNvSpPr/>
          <p:nvPr/>
        </p:nvSpPr>
        <p:spPr bwMode="auto">
          <a:xfrm>
            <a:off x="10445020" y="2138444"/>
            <a:ext cx="293636" cy="334438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en-SG" sz="1600" baseline="0" dirty="0">
                <a:latin typeface="+mn-lt"/>
                <a:ea typeface="+mn-ea"/>
                <a:cs typeface="+mn-cs"/>
              </a:rPr>
              <a:t>1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F911FC2C-0BFE-4B46-9187-29FA96345368}"/>
              </a:ext>
            </a:extLst>
          </p:cNvPr>
          <p:cNvSpPr/>
          <p:nvPr/>
        </p:nvSpPr>
        <p:spPr bwMode="auto">
          <a:xfrm>
            <a:off x="446371" y="4284364"/>
            <a:ext cx="293636" cy="334438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en-SG" sz="1600" baseline="0" dirty="0">
                <a:latin typeface="+mn-lt"/>
                <a:ea typeface="+mn-ea"/>
                <a:cs typeface="+mn-cs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49969801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3CFA31A-6F67-4F93-8FAF-42FE780335E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800" y="1268414"/>
            <a:ext cx="9721640" cy="5113337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SG" dirty="0"/>
              <a:t>Build and program. Open Tera Term, baud rate 115200</a:t>
            </a:r>
          </a:p>
          <a:p>
            <a:pPr marL="457200" indent="-457200">
              <a:buFont typeface="+mj-lt"/>
              <a:buAutoNum type="arabicPeriod"/>
            </a:pPr>
            <a:endParaRPr lang="en-SG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Press user button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The GPIO interrupt service routine (ISR) notifies the publisher task.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The publisher task publishes a message on a topic.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The MQTT broker sends back the message to the MQTT client because it is also subscribed to the same topic.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When the message is received, the subscriber task turns the LED ON or OFF. As a result, the user LED toggles every time the user presses the button.</a:t>
            </a:r>
            <a:endParaRPr lang="en-SG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65CF41-E0C4-48A4-B865-C00EE8FC68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Build and run the pr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AB3627-D649-4767-9CAE-0749176FC44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AEBD2B-15C9-45F4-AAA6-908A68218DF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441950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66964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5A41316-60B4-450B-9198-2E47C40B4AB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800" y="1268414"/>
            <a:ext cx="4609071" cy="5113337"/>
          </a:xfrm>
        </p:spPr>
        <p:txBody>
          <a:bodyPr/>
          <a:lstStyle/>
          <a:p>
            <a:r>
              <a:rPr lang="en-US" sz="1800" dirty="0"/>
              <a:t>Create an App from an empty template that attaches to a WPA2 AES PSK network, have LED1 turn on for success and blink for a failure.</a:t>
            </a:r>
          </a:p>
          <a:p>
            <a:endParaRPr lang="en-US" sz="1800" dirty="0"/>
          </a:p>
          <a:p>
            <a:r>
              <a:rPr lang="en-US" sz="1800" dirty="0"/>
              <a:t>Objective is to understand what are the libraries and APIs needed for a simple Wi-Fi connection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FB8BE30-949B-40FC-AD98-7FCCE5CFF3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Objectiv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BFE309-1678-4F9C-BDEF-CA2EDDB98CA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277175-59DF-4589-BD92-D4064C443F6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94E07C5-E162-4282-8C8F-99DD059670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51846" y="4149080"/>
            <a:ext cx="4066128" cy="211019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37A3CFB-FFE0-4642-AA47-56D4668627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76251" y="1498774"/>
            <a:ext cx="1872208" cy="2034331"/>
          </a:xfrm>
          <a:prstGeom prst="rect">
            <a:avLst/>
          </a:prstGeom>
        </p:spPr>
      </p:pic>
      <p:pic>
        <p:nvPicPr>
          <p:cNvPr id="1026" name="Picture 2" descr="C:\MTB_PSoC6_HOT\WiFi_Connect\bsps\TARGET_APP_CY8CKIT-062S2-43012\docs\html\board.png">
            <a:extLst>
              <a:ext uri="{FF2B5EF4-FFF2-40B4-BE49-F238E27FC236}">
                <a16:creationId xmlns:a16="http://schemas.microsoft.com/office/drawing/2014/main" id="{FEDCB28B-27F5-4944-9F02-549685E1C6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9622" y="1483359"/>
            <a:ext cx="2819598" cy="1945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90+ Free Wifi Symbol &amp; Wifi Images - Pixabay">
            <a:extLst>
              <a:ext uri="{FF2B5EF4-FFF2-40B4-BE49-F238E27FC236}">
                <a16:creationId xmlns:a16="http://schemas.microsoft.com/office/drawing/2014/main" id="{E841A38D-3981-45AC-97A7-666D072F90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4345" y="1638272"/>
            <a:ext cx="105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Arrow: Left-Right 7">
            <a:extLst>
              <a:ext uri="{FF2B5EF4-FFF2-40B4-BE49-F238E27FC236}">
                <a16:creationId xmlns:a16="http://schemas.microsoft.com/office/drawing/2014/main" id="{B8AFCB44-4751-4107-9918-D8C7D4ACA843}"/>
              </a:ext>
            </a:extLst>
          </p:cNvPr>
          <p:cNvSpPr/>
          <p:nvPr/>
        </p:nvSpPr>
        <p:spPr bwMode="auto">
          <a:xfrm>
            <a:off x="8076219" y="2515939"/>
            <a:ext cx="2000031" cy="192981"/>
          </a:xfrm>
          <a:prstGeom prst="leftRightArrow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SG" sz="1600" baseline="0" dirty="0">
              <a:latin typeface="+mn-lt"/>
              <a:ea typeface="+mn-ea"/>
              <a:cs typeface="+mn-cs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BBA0273-ADBB-4CC9-8FD4-2673C9F0C03C}"/>
              </a:ext>
            </a:extLst>
          </p:cNvPr>
          <p:cNvCxnSpPr/>
          <p:nvPr/>
        </p:nvCxnSpPr>
        <p:spPr>
          <a:xfrm>
            <a:off x="6384032" y="3429000"/>
            <a:ext cx="0" cy="72008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7977A6D3-B860-4203-9A65-67AB7A295C5C}"/>
              </a:ext>
            </a:extLst>
          </p:cNvPr>
          <p:cNvSpPr txBox="1"/>
          <p:nvPr/>
        </p:nvSpPr>
        <p:spPr bwMode="auto">
          <a:xfrm>
            <a:off x="6580114" y="3726085"/>
            <a:ext cx="2252181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SG" sz="1400" kern="0" baseline="0" dirty="0">
                <a:latin typeface="+mn-lt"/>
                <a:ea typeface="+mn-ea"/>
                <a:cs typeface="+mn-cs"/>
              </a:rPr>
              <a:t>Connection update to PC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D943268-585B-4B27-8A4A-221041FD59C1}"/>
              </a:ext>
            </a:extLst>
          </p:cNvPr>
          <p:cNvSpPr/>
          <p:nvPr/>
        </p:nvSpPr>
        <p:spPr>
          <a:xfrm>
            <a:off x="10043256" y="1075713"/>
            <a:ext cx="178741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SG" b="1" dirty="0">
                <a:latin typeface="+mn-lt"/>
              </a:rPr>
              <a:t>Wi-Fi Access Point</a:t>
            </a:r>
          </a:p>
        </p:txBody>
      </p:sp>
    </p:spTree>
    <p:extLst>
      <p:ext uri="{BB962C8B-B14F-4D97-AF65-F5344CB8AC3E}">
        <p14:creationId xmlns:p14="http://schemas.microsoft.com/office/powerpoint/2010/main" val="9916277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3207E41-0F3B-4AF2-9EE3-EA504039D95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91344" y="1124744"/>
            <a:ext cx="4824536" cy="3096690"/>
          </a:xfrm>
        </p:spPr>
        <p:txBody>
          <a:bodyPr/>
          <a:lstStyle/>
          <a:p>
            <a:pPr marL="270000" lvl="1" indent="0">
              <a:buNone/>
            </a:pPr>
            <a:endParaRPr lang="en-SG" sz="1600" dirty="0"/>
          </a:p>
          <a:p>
            <a:pPr marL="612900" lvl="1" indent="-342900">
              <a:buFont typeface="+mj-lt"/>
              <a:buAutoNum type="arabicPeriod"/>
            </a:pPr>
            <a:r>
              <a:rPr lang="en-SG" sz="1600" dirty="0"/>
              <a:t>Create a new application named </a:t>
            </a:r>
            <a:r>
              <a:rPr lang="en-SG" sz="1600" b="1" dirty="0" err="1"/>
              <a:t>WiFi_Connect</a:t>
            </a:r>
            <a:r>
              <a:rPr lang="en-SG" sz="1600" b="1" dirty="0"/>
              <a:t> </a:t>
            </a:r>
            <a:r>
              <a:rPr lang="en-SG" sz="1600" dirty="0"/>
              <a:t>based on the </a:t>
            </a:r>
            <a:r>
              <a:rPr lang="en-SG" sz="1600" b="1" dirty="0"/>
              <a:t>Empty_PSoC6_App</a:t>
            </a:r>
            <a:r>
              <a:rPr lang="en-SG" sz="1600" dirty="0"/>
              <a:t> template.</a:t>
            </a:r>
          </a:p>
          <a:p>
            <a:pPr marL="612900" lvl="1" indent="-342900">
              <a:buFont typeface="+mj-lt"/>
              <a:buAutoNum type="arabicPeriod"/>
            </a:pPr>
            <a:endParaRPr lang="en-SG" sz="1600" dirty="0"/>
          </a:p>
          <a:p>
            <a:pPr marL="612900" lvl="1" indent="-342900">
              <a:buFont typeface="+mj-lt"/>
              <a:buAutoNum type="arabicPeriod"/>
            </a:pPr>
            <a:r>
              <a:rPr lang="en-SG" sz="1600" dirty="0"/>
              <a:t>Open the Library manager and add </a:t>
            </a:r>
          </a:p>
          <a:p>
            <a:pPr marL="450000" lvl="2" indent="0">
              <a:buNone/>
            </a:pPr>
            <a:endParaRPr lang="en-SG" sz="1600" dirty="0"/>
          </a:p>
          <a:p>
            <a:pPr marL="850050" lvl="2" indent="-400050">
              <a:buFont typeface="+mj-lt"/>
              <a:buAutoNum type="romanLcPeriod"/>
            </a:pPr>
            <a:r>
              <a:rPr lang="en-SG" sz="1600" dirty="0"/>
              <a:t>Middleware &gt;&gt; </a:t>
            </a:r>
            <a:r>
              <a:rPr lang="en-SG" sz="1600" b="1" dirty="0" err="1"/>
              <a:t>wifi</a:t>
            </a:r>
            <a:r>
              <a:rPr lang="en-SG" sz="1600" b="1" dirty="0"/>
              <a:t>-connection-manager</a:t>
            </a:r>
          </a:p>
          <a:p>
            <a:pPr marL="792900" lvl="2" indent="-342900">
              <a:buAutoNum type="romanLcPeriod"/>
            </a:pPr>
            <a:r>
              <a:rPr lang="en-SG" sz="1600" dirty="0"/>
              <a:t>Peripheral &gt;&gt; </a:t>
            </a:r>
            <a:r>
              <a:rPr lang="en-SG" sz="1600" b="1" dirty="0"/>
              <a:t>retarget-</a:t>
            </a:r>
            <a:r>
              <a:rPr lang="en-SG" sz="1600" b="1" dirty="0" err="1"/>
              <a:t>io</a:t>
            </a:r>
            <a:r>
              <a:rPr lang="en-SG" sz="1600" b="1" dirty="0"/>
              <a:t> libraries</a:t>
            </a:r>
          </a:p>
          <a:p>
            <a:pPr marL="792900" lvl="2" indent="-342900">
              <a:buAutoNum type="romanLcPeriod"/>
            </a:pPr>
            <a:r>
              <a:rPr lang="en-SG" sz="1600" dirty="0"/>
              <a:t>Wi-Fi &gt;&gt; </a:t>
            </a:r>
            <a:r>
              <a:rPr lang="en-SG" sz="1600" b="1" dirty="0" err="1"/>
              <a:t>wifi</a:t>
            </a:r>
            <a:r>
              <a:rPr lang="en-SG" sz="1600" b="1" dirty="0"/>
              <a:t>-core-</a:t>
            </a:r>
            <a:r>
              <a:rPr lang="en-SG" sz="1600" b="1" dirty="0" err="1"/>
              <a:t>freertos</a:t>
            </a:r>
            <a:r>
              <a:rPr lang="en-SG" sz="1600" b="1" dirty="0"/>
              <a:t>-</a:t>
            </a:r>
            <a:r>
              <a:rPr lang="en-SG" sz="1600" b="1" dirty="0" err="1"/>
              <a:t>lwip-mbedtls</a:t>
            </a:r>
            <a:r>
              <a:rPr lang="en-SG" sz="1600" dirty="0"/>
              <a:t>.</a:t>
            </a:r>
          </a:p>
          <a:p>
            <a:pPr marL="270000" lvl="1" indent="0">
              <a:buNone/>
            </a:pPr>
            <a:endParaRPr lang="en-SG" sz="15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B746224-93E8-4391-87AD-BA6BB8625B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/>
          <a:lstStyle/>
          <a:p>
            <a:r>
              <a:rPr lang="en-US" dirty="0"/>
              <a:t>Create App and add Library</a:t>
            </a:r>
            <a:endParaRPr lang="en-SG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F401CB-73CA-487D-AA8D-B1E7F33327B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980AC0-109B-4948-A0DF-4A62DB682BD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7BC914-8BA5-4FDD-BA2E-125F3A7BFE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53576" y="1082847"/>
            <a:ext cx="3095022" cy="321882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33CB573-FA88-47DB-8E62-E87BD74CCE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34569" y="1105765"/>
            <a:ext cx="3224440" cy="319590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FFBF0A3-E9D4-4284-993B-45449EBF24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10649" y="4437112"/>
            <a:ext cx="4243100" cy="1835866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D3F02A1F-699B-47CD-B246-6773F9910F97}"/>
              </a:ext>
            </a:extLst>
          </p:cNvPr>
          <p:cNvSpPr/>
          <p:nvPr/>
        </p:nvSpPr>
        <p:spPr bwMode="auto">
          <a:xfrm>
            <a:off x="6888088" y="3875819"/>
            <a:ext cx="288032" cy="288032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en-SG" sz="1600" baseline="0" dirty="0">
                <a:latin typeface="+mn-lt"/>
                <a:ea typeface="+mn-ea"/>
                <a:cs typeface="+mn-cs"/>
              </a:rPr>
              <a:t>a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1B44D62-7699-4D67-A0B5-77DF13954E45}"/>
              </a:ext>
            </a:extLst>
          </p:cNvPr>
          <p:cNvSpPr/>
          <p:nvPr/>
        </p:nvSpPr>
        <p:spPr bwMode="auto">
          <a:xfrm>
            <a:off x="9803828" y="3390741"/>
            <a:ext cx="288032" cy="288032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en-SG" sz="1600" baseline="0" dirty="0">
                <a:latin typeface="+mn-lt"/>
                <a:ea typeface="+mn-ea"/>
                <a:cs typeface="+mn-cs"/>
              </a:rPr>
              <a:t>b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7A57192-AD47-4A6D-8F83-7CC45A50C3F6}"/>
              </a:ext>
            </a:extLst>
          </p:cNvPr>
          <p:cNvSpPr/>
          <p:nvPr/>
        </p:nvSpPr>
        <p:spPr bwMode="auto">
          <a:xfrm>
            <a:off x="8744133" y="5041139"/>
            <a:ext cx="288032" cy="288032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en-SG" sz="1600" baseline="0" dirty="0">
                <a:latin typeface="+mn-lt"/>
                <a:ea typeface="+mn-ea"/>
                <a:cs typeface="+mn-cs"/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10875757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3207E41-0F3B-4AF2-9EE3-EA504039D95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91344" y="940644"/>
            <a:ext cx="6480720" cy="1944216"/>
          </a:xfrm>
        </p:spPr>
        <p:txBody>
          <a:bodyPr/>
          <a:lstStyle/>
          <a:p>
            <a:pPr marL="270000" lvl="1" indent="0">
              <a:buNone/>
            </a:pPr>
            <a:endParaRPr lang="en-SG" sz="1600" dirty="0"/>
          </a:p>
          <a:p>
            <a:pPr marL="612900" lvl="1" indent="-342900">
              <a:buFont typeface="+mj-lt"/>
              <a:buAutoNum type="arabicPeriod" startAt="3"/>
            </a:pPr>
            <a:r>
              <a:rPr lang="en-SG" sz="1600" dirty="0"/>
              <a:t>Copy </a:t>
            </a:r>
            <a:r>
              <a:rPr lang="en-SG" sz="1600" b="1" dirty="0" err="1"/>
              <a:t>FreeRTOSConfig.h</a:t>
            </a:r>
            <a:r>
              <a:rPr lang="en-SG" sz="1600" dirty="0"/>
              <a:t> from </a:t>
            </a:r>
            <a:r>
              <a:rPr lang="en-SG" sz="1600" b="1" dirty="0" err="1"/>
              <a:t>mtb_shared</a:t>
            </a:r>
            <a:r>
              <a:rPr lang="en-SG" sz="1600" b="1" dirty="0"/>
              <a:t>/</a:t>
            </a:r>
            <a:r>
              <a:rPr lang="en-SG" sz="1600" b="1" dirty="0" err="1"/>
              <a:t>freertos</a:t>
            </a:r>
            <a:r>
              <a:rPr lang="en-SG" sz="1600" b="1" dirty="0"/>
              <a:t>/release-</a:t>
            </a:r>
            <a:r>
              <a:rPr lang="en-SG" sz="1600" b="1" dirty="0" err="1"/>
              <a:t>vX.X.X</a:t>
            </a:r>
            <a:r>
              <a:rPr lang="en-SG" sz="1600" b="1" dirty="0"/>
              <a:t>/Source/portable/COMPONENT_CM4 </a:t>
            </a:r>
            <a:r>
              <a:rPr lang="en-SG" sz="1600" dirty="0"/>
              <a:t>to your project root directory. </a:t>
            </a:r>
          </a:p>
          <a:p>
            <a:pPr marL="612900" lvl="1" indent="-342900">
              <a:buFont typeface="+mj-lt"/>
              <a:buAutoNum type="arabicPeriod" startAt="3"/>
            </a:pPr>
            <a:endParaRPr lang="en-SG" sz="1600" dirty="0"/>
          </a:p>
          <a:p>
            <a:pPr marL="612900" lvl="1" indent="-342900">
              <a:buFont typeface="+mj-lt"/>
              <a:buAutoNum type="arabicPeriod" startAt="3"/>
            </a:pPr>
            <a:r>
              <a:rPr lang="en-SG" sz="1600" dirty="0"/>
              <a:t>Open this file and </a:t>
            </a:r>
            <a:r>
              <a:rPr lang="en-SG" sz="1600" b="1" dirty="0"/>
              <a:t>delete</a:t>
            </a:r>
            <a:r>
              <a:rPr lang="en-SG" sz="1600" dirty="0"/>
              <a:t> the line that starts with #warning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B746224-93E8-4391-87AD-BA6BB8625B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/>
          <a:lstStyle/>
          <a:p>
            <a:r>
              <a:rPr lang="en-US" dirty="0"/>
              <a:t>Copy and Edit files</a:t>
            </a:r>
            <a:endParaRPr lang="en-SG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F401CB-73CA-487D-AA8D-B1E7F33327B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980AC0-109B-4948-A0DF-4A62DB682BD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2B546DB-3091-46BD-85DA-5142537F78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376" y="3170245"/>
            <a:ext cx="3383859" cy="234346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EBDC4EB-1D20-4173-8E8F-EA39D68B03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75720" y="3726257"/>
            <a:ext cx="8459621" cy="1784327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D931B57-53B1-4BED-993F-0380BBB21854}"/>
              </a:ext>
            </a:extLst>
          </p:cNvPr>
          <p:cNvCxnSpPr>
            <a:endCxn id="13" idx="1"/>
          </p:cNvCxnSpPr>
          <p:nvPr/>
        </p:nvCxnSpPr>
        <p:spPr>
          <a:xfrm flipV="1">
            <a:off x="1991544" y="4618421"/>
            <a:ext cx="1584176" cy="466763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 9">
            <a:extLst>
              <a:ext uri="{FF2B5EF4-FFF2-40B4-BE49-F238E27FC236}">
                <a16:creationId xmlns:a16="http://schemas.microsoft.com/office/drawing/2014/main" id="{79A3A606-1A23-4006-8FE3-061D301FBB4A}"/>
              </a:ext>
            </a:extLst>
          </p:cNvPr>
          <p:cNvSpPr/>
          <p:nvPr/>
        </p:nvSpPr>
        <p:spPr bwMode="auto">
          <a:xfrm>
            <a:off x="2602744" y="4360349"/>
            <a:ext cx="360040" cy="36004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en-SG" sz="1600" baseline="0" dirty="0">
                <a:latin typeface="+mn-lt"/>
                <a:ea typeface="+mn-ea"/>
                <a:cs typeface="+mn-cs"/>
              </a:rPr>
              <a:t>1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834F75B-6C77-4E1E-B4BC-9DB6CA28528E}"/>
              </a:ext>
            </a:extLst>
          </p:cNvPr>
          <p:cNvSpPr/>
          <p:nvPr/>
        </p:nvSpPr>
        <p:spPr bwMode="auto">
          <a:xfrm>
            <a:off x="9588388" y="4618420"/>
            <a:ext cx="360040" cy="36004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r>
              <a:rPr lang="en-SG" sz="1600" dirty="0">
                <a:latin typeface="+mn-lt"/>
              </a:rPr>
              <a:t>2</a:t>
            </a:r>
            <a:endParaRPr lang="en-SG" sz="160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57486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A79AA86-7A00-4EFD-98BB-2582B8D8C9E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9336" y="1196752"/>
            <a:ext cx="5328592" cy="5113337"/>
          </a:xfrm>
        </p:spPr>
        <p:txBody>
          <a:bodyPr/>
          <a:lstStyle/>
          <a:p>
            <a:pPr marL="612900" lvl="1" indent="-342900">
              <a:buFont typeface="+mj-lt"/>
              <a:buAutoNum type="arabicPeriod" startAt="5"/>
            </a:pPr>
            <a:r>
              <a:rPr lang="en-SG" sz="1800" dirty="0"/>
              <a:t>Copy the files from the </a:t>
            </a:r>
            <a:r>
              <a:rPr lang="en-SG" sz="1800" b="1" dirty="0" err="1"/>
              <a:t>mtb_shared</a:t>
            </a:r>
            <a:r>
              <a:rPr lang="en-SG" sz="1800" b="1" dirty="0"/>
              <a:t>/</a:t>
            </a:r>
            <a:r>
              <a:rPr lang="en-SG" sz="1800" b="1" dirty="0" err="1"/>
              <a:t>wifi</a:t>
            </a:r>
            <a:r>
              <a:rPr lang="en-SG" sz="1800" b="1" dirty="0"/>
              <a:t>-core-</a:t>
            </a:r>
            <a:r>
              <a:rPr lang="en-SG" sz="1800" b="1" dirty="0" err="1"/>
              <a:t>freertos</a:t>
            </a:r>
            <a:r>
              <a:rPr lang="en-SG" sz="1800" b="1" dirty="0"/>
              <a:t>-</a:t>
            </a:r>
            <a:r>
              <a:rPr lang="en-SG" sz="1800" b="1" dirty="0" err="1"/>
              <a:t>lwip-mbedtls</a:t>
            </a:r>
            <a:r>
              <a:rPr lang="en-SG" sz="1800" b="1" dirty="0"/>
              <a:t>/release-</a:t>
            </a:r>
            <a:r>
              <a:rPr lang="en-SG" sz="1800" b="1" dirty="0" err="1"/>
              <a:t>vX.X</a:t>
            </a:r>
            <a:r>
              <a:rPr lang="en-SG" sz="1800" b="1" dirty="0"/>
              <a:t>/configs</a:t>
            </a:r>
            <a:r>
              <a:rPr lang="en-SG" sz="1800" dirty="0"/>
              <a:t> directory to your root project directory. The files are:</a:t>
            </a:r>
          </a:p>
          <a:p>
            <a:pPr marL="850050" lvl="2" indent="-400050">
              <a:buFont typeface="+mj-lt"/>
              <a:buAutoNum type="romanLcPeriod"/>
            </a:pPr>
            <a:r>
              <a:rPr lang="en-SG" sz="1600" dirty="0" err="1"/>
              <a:t>lwipopts.h</a:t>
            </a:r>
            <a:endParaRPr lang="en-SG" sz="1600" dirty="0"/>
          </a:p>
          <a:p>
            <a:pPr marL="850050" lvl="2" indent="-400050">
              <a:buFont typeface="+mj-lt"/>
              <a:buAutoNum type="romanLcPeriod"/>
            </a:pPr>
            <a:r>
              <a:rPr lang="en-SG" sz="1600" dirty="0" err="1"/>
              <a:t>mbedtls_user_config.h</a:t>
            </a:r>
            <a:endParaRPr lang="en-SG" sz="1600" dirty="0"/>
          </a:p>
          <a:p>
            <a:pPr marL="792900" lvl="2" indent="-342900">
              <a:buFont typeface="+mj-lt"/>
              <a:buAutoNum type="romanLcPeriod"/>
            </a:pPr>
            <a:endParaRPr lang="en-SG" sz="1600" dirty="0"/>
          </a:p>
          <a:p>
            <a:pPr marL="792900" lvl="2" indent="-342900">
              <a:buFont typeface="+mj-lt"/>
              <a:buAutoNum type="romanLcPeriod"/>
            </a:pPr>
            <a:endParaRPr lang="en-SG" sz="1600" dirty="0"/>
          </a:p>
          <a:p>
            <a:pPr marL="792900" lvl="2" indent="-342900">
              <a:buFont typeface="+mj-lt"/>
              <a:buAutoNum type="romanLcPeriod"/>
            </a:pPr>
            <a:endParaRPr lang="en-SG" sz="1600" dirty="0"/>
          </a:p>
          <a:p>
            <a:pPr marL="792900" lvl="2" indent="-342900">
              <a:buFont typeface="+mj-lt"/>
              <a:buAutoNum type="romanLcPeriod"/>
            </a:pPr>
            <a:endParaRPr lang="en-SG" sz="1600" dirty="0"/>
          </a:p>
          <a:p>
            <a:pPr marL="612900" lvl="1" indent="-342900">
              <a:buFont typeface="+mj-lt"/>
              <a:buAutoNum type="arabicPeriod" startAt="5"/>
            </a:pPr>
            <a:r>
              <a:rPr lang="en-SG" sz="1800" dirty="0"/>
              <a:t>Open the </a:t>
            </a:r>
            <a:r>
              <a:rPr lang="en-SG" sz="1800" b="1" dirty="0" err="1"/>
              <a:t>mbedtls_user_config.h</a:t>
            </a:r>
            <a:r>
              <a:rPr lang="en-SG" sz="1800" b="1" dirty="0"/>
              <a:t> </a:t>
            </a:r>
            <a:r>
              <a:rPr lang="en-SG" sz="1800" dirty="0"/>
              <a:t>file and verify that the following line is not commented out:</a:t>
            </a:r>
          </a:p>
          <a:p>
            <a:pPr marL="270000" lvl="1" indent="0">
              <a:buNone/>
            </a:pPr>
            <a:endParaRPr lang="en-SG" sz="1800" dirty="0"/>
          </a:p>
          <a:p>
            <a:pPr marL="450000" lvl="2" indent="0">
              <a:buNone/>
            </a:pPr>
            <a:r>
              <a:rPr lang="en-SG" sz="1600" dirty="0"/>
              <a:t>#define MBEDTLS_NO_PLATFORM_ENTROPY</a:t>
            </a:r>
          </a:p>
          <a:p>
            <a:pPr marL="450000" lvl="2" indent="0">
              <a:buNone/>
            </a:pPr>
            <a:endParaRPr lang="en-SG" sz="1600" dirty="0"/>
          </a:p>
          <a:p>
            <a:endParaRPr lang="en-SG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AB409A1-CABD-48FE-B7A8-5C60A1CB60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py and Edit files</a:t>
            </a:r>
            <a:endParaRPr lang="en-SG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2D27A9A-F5D8-4E76-B8CE-8031FF54291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6BDC3B3-BC36-4812-96DA-BDA24C6F79A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498F8C5-440B-4C7D-9452-C3AEDBFA91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5960" y="1095755"/>
            <a:ext cx="3843432" cy="26567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8162CCF-EBD4-4B96-AE58-C80CD0E1F7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8138" y="1160754"/>
            <a:ext cx="2302518" cy="2656750"/>
          </a:xfrm>
          <a:prstGeom prst="rect">
            <a:avLst/>
          </a:prstGeom>
        </p:spPr>
      </p:pic>
      <p:sp>
        <p:nvSpPr>
          <p:cNvPr id="9" name="Arrow: Right 8">
            <a:extLst>
              <a:ext uri="{FF2B5EF4-FFF2-40B4-BE49-F238E27FC236}">
                <a16:creationId xmlns:a16="http://schemas.microsoft.com/office/drawing/2014/main" id="{9D53962E-2A6E-43FB-8114-28E04F6598AB}"/>
              </a:ext>
            </a:extLst>
          </p:cNvPr>
          <p:cNvSpPr/>
          <p:nvPr/>
        </p:nvSpPr>
        <p:spPr bwMode="auto">
          <a:xfrm>
            <a:off x="7657676" y="2625556"/>
            <a:ext cx="648072" cy="432048"/>
          </a:xfrm>
          <a:prstGeom prst="rightArrow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SG" sz="1600" baseline="0" dirty="0">
              <a:latin typeface="+mn-lt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3C39E3C-2EDC-40D3-827E-FD0EDAA183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30780" y="4774440"/>
            <a:ext cx="6369876" cy="71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2533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6C1929B-AC52-4451-8A2D-AEE2D0EEACF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800" y="1268414"/>
            <a:ext cx="11520000" cy="864441"/>
          </a:xfrm>
        </p:spPr>
        <p:txBody>
          <a:bodyPr/>
          <a:lstStyle/>
          <a:p>
            <a:pPr marL="612900" lvl="1" indent="-342900">
              <a:buFont typeface="+mj-lt"/>
              <a:buAutoNum type="arabicPeriod" startAt="7"/>
            </a:pPr>
            <a:r>
              <a:rPr lang="en-SG" sz="1800" dirty="0"/>
              <a:t>Copy the following code into a new header file called </a:t>
            </a:r>
            <a:r>
              <a:rPr lang="en-SG" sz="1800" dirty="0" err="1"/>
              <a:t>wifi_config.h</a:t>
            </a:r>
            <a:endParaRPr lang="en-SG" sz="1800" dirty="0"/>
          </a:p>
          <a:p>
            <a:pPr marL="612900" lvl="1" indent="-342900">
              <a:buFont typeface="+mj-lt"/>
              <a:buAutoNum type="arabicPeriod" startAt="7"/>
            </a:pPr>
            <a:endParaRPr lang="en-SG" sz="1800" dirty="0"/>
          </a:p>
          <a:p>
            <a:pPr marL="612900" lvl="1" indent="-342900">
              <a:buFont typeface="+mj-lt"/>
              <a:buAutoNum type="arabicPeriod" startAt="7"/>
            </a:pPr>
            <a:r>
              <a:rPr lang="en-SG" sz="1800" dirty="0"/>
              <a:t>Edit WIFI_SSID and WIFI_PASSWORD to join to your AP (mobile hot spot)</a:t>
            </a:r>
          </a:p>
          <a:p>
            <a:pPr marL="850050" lvl="2" indent="-400050">
              <a:buFont typeface="+mj-lt"/>
              <a:buAutoNum type="romanLcPeriod"/>
            </a:pPr>
            <a:r>
              <a:rPr lang="en-SG" sz="1600" dirty="0"/>
              <a:t>#define WIFI_SSID “</a:t>
            </a:r>
            <a:r>
              <a:rPr lang="en-SG" sz="1600" dirty="0" err="1"/>
              <a:t>MyHotSpot</a:t>
            </a:r>
            <a:r>
              <a:rPr lang="en-SG" sz="1600" dirty="0"/>
              <a:t>”</a:t>
            </a:r>
          </a:p>
          <a:p>
            <a:pPr marL="850050" lvl="2" indent="-400050">
              <a:buFont typeface="+mj-lt"/>
              <a:buAutoNum type="romanLcPeriod"/>
            </a:pPr>
            <a:r>
              <a:rPr lang="en-SG" sz="1600" dirty="0"/>
              <a:t>#define WIFI_PASSWORD “</a:t>
            </a:r>
            <a:r>
              <a:rPr lang="en-SG" sz="1600" dirty="0" err="1"/>
              <a:t>MyPassword</a:t>
            </a:r>
            <a:r>
              <a:rPr lang="en-SG" sz="1600" dirty="0"/>
              <a:t>”</a:t>
            </a:r>
          </a:p>
          <a:p>
            <a:pPr marL="0" indent="0">
              <a:buNone/>
            </a:pPr>
            <a:endParaRPr lang="en-SG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8D8362-831E-48BC-B222-4B9BCB3178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a file </a:t>
            </a:r>
            <a:r>
              <a:rPr lang="en-SG" dirty="0" err="1"/>
              <a:t>wifi_config.h</a:t>
            </a:r>
            <a:endParaRPr lang="en-SG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C84E55-13AC-4ADC-9FC0-906B72EFD4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292202-D3DB-4489-B519-80BE0512E18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6BC2CDF-E090-40D0-B574-A041246D51ED}"/>
              </a:ext>
            </a:extLst>
          </p:cNvPr>
          <p:cNvSpPr/>
          <p:nvPr/>
        </p:nvSpPr>
        <p:spPr>
          <a:xfrm>
            <a:off x="551384" y="2790795"/>
            <a:ext cx="6048672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SG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#</a:t>
            </a:r>
            <a:r>
              <a:rPr lang="en-SG" sz="1200" b="1" dirty="0" err="1">
                <a:solidFill>
                  <a:srgbClr val="7F0055"/>
                </a:solidFill>
                <a:latin typeface="Consolas" panose="020B0609020204030204" pitchFamily="49" charset="0"/>
              </a:rPr>
              <a:t>ifndef</a:t>
            </a:r>
            <a:r>
              <a:rPr lang="en-SG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WIFI_CONFIG_H_</a:t>
            </a:r>
          </a:p>
          <a:p>
            <a:r>
              <a:rPr lang="en-SG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#define</a:t>
            </a:r>
            <a:r>
              <a:rPr lang="en-SG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WIFI_CONFIG_H_</a:t>
            </a:r>
          </a:p>
          <a:p>
            <a:endParaRPr lang="en-SG" sz="1200" dirty="0">
              <a:latin typeface="Consolas" panose="020B0609020204030204" pitchFamily="49" charset="0"/>
            </a:endParaRPr>
          </a:p>
          <a:p>
            <a:r>
              <a:rPr lang="en-SG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#include</a:t>
            </a:r>
            <a:r>
              <a:rPr lang="en-SG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SG" sz="1200" b="1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  <a:r>
              <a:rPr lang="en-SG" sz="1200" b="1" dirty="0" err="1">
                <a:solidFill>
                  <a:srgbClr val="2A00FF"/>
                </a:solidFill>
                <a:latin typeface="Consolas" panose="020B0609020204030204" pitchFamily="49" charset="0"/>
              </a:rPr>
              <a:t>cy_wcm.h</a:t>
            </a:r>
            <a:r>
              <a:rPr lang="en-SG" sz="1200" b="1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</a:p>
          <a:p>
            <a:r>
              <a:rPr lang="en-US" sz="1200" dirty="0">
                <a:solidFill>
                  <a:srgbClr val="3F7F5F"/>
                </a:solidFill>
                <a:latin typeface="Consolas" panose="020B0609020204030204" pitchFamily="49" charset="0"/>
              </a:rPr>
              <a:t>/* SSID of the Wi-Fi Access Point to which the MQTT client connects. */</a:t>
            </a:r>
          </a:p>
          <a:p>
            <a:r>
              <a:rPr lang="en-SG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#define</a:t>
            </a:r>
            <a:r>
              <a:rPr lang="en-SG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WIFI_SSID </a:t>
            </a:r>
            <a:r>
              <a:rPr lang="en-SG" sz="1200" b="1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  <a:r>
              <a:rPr lang="en-SG" sz="1200" b="1" u="sng" dirty="0" err="1">
                <a:solidFill>
                  <a:srgbClr val="2A00FF"/>
                </a:solidFill>
                <a:latin typeface="Consolas" panose="020B0609020204030204" pitchFamily="49" charset="0"/>
              </a:rPr>
              <a:t>xxxxxxxx</a:t>
            </a:r>
            <a:r>
              <a:rPr lang="en-SG" sz="1200" b="1" u="sng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</a:p>
          <a:p>
            <a:r>
              <a:rPr lang="en-US" sz="1200" dirty="0">
                <a:solidFill>
                  <a:srgbClr val="3F7F5F"/>
                </a:solidFill>
                <a:latin typeface="Consolas" panose="020B0609020204030204" pitchFamily="49" charset="0"/>
              </a:rPr>
              <a:t>/* </a:t>
            </a:r>
            <a:r>
              <a:rPr lang="en-US" sz="1200" u="sng" dirty="0">
                <a:solidFill>
                  <a:srgbClr val="3F7F5F"/>
                </a:solidFill>
                <a:latin typeface="Consolas" panose="020B0609020204030204" pitchFamily="49" charset="0"/>
              </a:rPr>
              <a:t>Passkey of the above mentioned Wi-Fi SSID. */</a:t>
            </a:r>
          </a:p>
          <a:p>
            <a:r>
              <a:rPr lang="en-SG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#define</a:t>
            </a:r>
            <a:r>
              <a:rPr lang="en-SG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WIFI_PASSWORD </a:t>
            </a:r>
            <a:r>
              <a:rPr lang="en-SG" sz="1200" b="1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  <a:r>
              <a:rPr lang="en-SG" sz="1200" b="1" u="sng" dirty="0" err="1">
                <a:solidFill>
                  <a:srgbClr val="2A00FF"/>
                </a:solidFill>
                <a:latin typeface="Consolas" panose="020B0609020204030204" pitchFamily="49" charset="0"/>
              </a:rPr>
              <a:t>xxxxxxxx</a:t>
            </a:r>
            <a:r>
              <a:rPr lang="en-SG" sz="1200" b="1" u="sng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</a:p>
          <a:p>
            <a:r>
              <a:rPr lang="en-US" sz="1200" dirty="0">
                <a:solidFill>
                  <a:srgbClr val="3F7F5F"/>
                </a:solidFill>
                <a:latin typeface="Consolas" panose="020B0609020204030204" pitchFamily="49" charset="0"/>
              </a:rPr>
              <a:t>/* Security type of the Wi-Fi access point. See '</a:t>
            </a:r>
            <a:r>
              <a:rPr lang="en-US" sz="1200" dirty="0" err="1">
                <a:solidFill>
                  <a:srgbClr val="3F7F5F"/>
                </a:solidFill>
                <a:latin typeface="Consolas" panose="020B0609020204030204" pitchFamily="49" charset="0"/>
              </a:rPr>
              <a:t>cy_wcm_security_t</a:t>
            </a:r>
            <a:r>
              <a:rPr lang="en-US" sz="1200" dirty="0">
                <a:solidFill>
                  <a:srgbClr val="3F7F5F"/>
                </a:solidFill>
                <a:latin typeface="Consolas" panose="020B0609020204030204" pitchFamily="49" charset="0"/>
              </a:rPr>
              <a:t>' structure</a:t>
            </a:r>
          </a:p>
          <a:p>
            <a:r>
              <a:rPr lang="en-US" sz="1200" dirty="0">
                <a:solidFill>
                  <a:srgbClr val="3F7F5F"/>
                </a:solidFill>
                <a:latin typeface="Consolas" panose="020B0609020204030204" pitchFamily="49" charset="0"/>
              </a:rPr>
              <a:t>* in "</a:t>
            </a:r>
            <a:r>
              <a:rPr lang="en-US" sz="1200" dirty="0" err="1">
                <a:solidFill>
                  <a:srgbClr val="3F7F5F"/>
                </a:solidFill>
                <a:latin typeface="Consolas" panose="020B0609020204030204" pitchFamily="49" charset="0"/>
              </a:rPr>
              <a:t>cy_wcm.h</a:t>
            </a:r>
            <a:r>
              <a:rPr lang="en-US" sz="1200" dirty="0">
                <a:solidFill>
                  <a:srgbClr val="3F7F5F"/>
                </a:solidFill>
                <a:latin typeface="Consolas" panose="020B0609020204030204" pitchFamily="49" charset="0"/>
              </a:rPr>
              <a:t>" for more details. */</a:t>
            </a:r>
          </a:p>
          <a:p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#define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WIFI_SECURITY CY_WCM_SECURITY_WPA2_AES_PSK</a:t>
            </a:r>
          </a:p>
          <a:p>
            <a:r>
              <a:rPr lang="en-SG" sz="1200" dirty="0">
                <a:solidFill>
                  <a:srgbClr val="3F7F5F"/>
                </a:solidFill>
                <a:latin typeface="Consolas" panose="020B0609020204030204" pitchFamily="49" charset="0"/>
              </a:rPr>
              <a:t>/* Maximum Wi-Fi re-connection limit. */</a:t>
            </a:r>
          </a:p>
          <a:p>
            <a:r>
              <a:rPr lang="it-IT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#define</a:t>
            </a:r>
            <a:r>
              <a:rPr lang="it-IT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MAX_WIFI_CONN_RETRIES (10u)</a:t>
            </a:r>
          </a:p>
          <a:p>
            <a:r>
              <a:rPr lang="en-US" sz="1200" dirty="0">
                <a:solidFill>
                  <a:srgbClr val="3F7F5F"/>
                </a:solidFill>
                <a:latin typeface="Consolas" panose="020B0609020204030204" pitchFamily="49" charset="0"/>
              </a:rPr>
              <a:t>/* Wi-Fi re-connection time interval in milliseconds. */</a:t>
            </a:r>
          </a:p>
          <a:p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#define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WIFI_CONN_RETRY_INTERVAL_MS (2000)</a:t>
            </a:r>
          </a:p>
          <a:p>
            <a:endParaRPr lang="en-SG" dirty="0">
              <a:latin typeface="Consolas" panose="020B0609020204030204" pitchFamily="49" charset="0"/>
            </a:endParaRPr>
          </a:p>
          <a:p>
            <a:r>
              <a:rPr lang="en-SG" b="1" dirty="0">
                <a:solidFill>
                  <a:srgbClr val="7F0055"/>
                </a:solidFill>
                <a:latin typeface="Consolas" panose="020B0609020204030204" pitchFamily="49" charset="0"/>
              </a:rPr>
              <a:t>#endif</a:t>
            </a:r>
            <a:r>
              <a:rPr lang="en-SG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SG" b="1" dirty="0">
                <a:solidFill>
                  <a:srgbClr val="3F7F5F"/>
                </a:solidFill>
                <a:latin typeface="Consolas" panose="020B0609020204030204" pitchFamily="49" charset="0"/>
              </a:rPr>
              <a:t>/* WIFI_CONFIG_H_ */</a:t>
            </a:r>
            <a:endParaRPr lang="en-SG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008C0A2-7A01-4914-A5E1-792EFFB69E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80176" y="3564354"/>
            <a:ext cx="3338798" cy="232158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81325AC-4CE8-42D1-85D6-0353BE54DA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8361" y="1353917"/>
            <a:ext cx="1598797" cy="1737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7965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A79AA86-7A00-4EFD-98BB-2582B8D8C9E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9336" y="1196752"/>
            <a:ext cx="6480720" cy="5113337"/>
          </a:xfrm>
        </p:spPr>
        <p:txBody>
          <a:bodyPr/>
          <a:lstStyle/>
          <a:p>
            <a:pPr marL="450000" lvl="2" indent="0">
              <a:buNone/>
            </a:pPr>
            <a:endParaRPr lang="en-SG" sz="1600" dirty="0"/>
          </a:p>
          <a:p>
            <a:pPr marL="612900" lvl="1" indent="-342900">
              <a:buFont typeface="+mj-lt"/>
              <a:buAutoNum type="arabicPeriod" startAt="9"/>
            </a:pPr>
            <a:r>
              <a:rPr lang="en-SG" sz="1600" dirty="0"/>
              <a:t>Add the following lines to your project's </a:t>
            </a:r>
            <a:r>
              <a:rPr lang="en-SG" sz="1600" dirty="0" err="1"/>
              <a:t>Makefile</a:t>
            </a:r>
            <a:r>
              <a:rPr lang="en-SG" sz="1600" dirty="0"/>
              <a:t>:</a:t>
            </a:r>
          </a:p>
          <a:p>
            <a:pPr marL="450000" lvl="2" indent="0">
              <a:buNone/>
            </a:pPr>
            <a:endParaRPr lang="en-SG" sz="1600" dirty="0"/>
          </a:p>
          <a:p>
            <a:pPr marL="450000" lvl="2" indent="0">
              <a:buNone/>
            </a:pPr>
            <a:r>
              <a:rPr lang="en-SG" sz="1000" dirty="0"/>
              <a:t>COMPONENTS=FREERTOS LWIP MBEDTLS</a:t>
            </a:r>
          </a:p>
          <a:p>
            <a:pPr marL="450000" lvl="2" indent="0">
              <a:buNone/>
            </a:pPr>
            <a:endParaRPr lang="en-SG" sz="1000" dirty="0"/>
          </a:p>
          <a:p>
            <a:pPr marL="450000" lvl="2" indent="0">
              <a:buNone/>
            </a:pPr>
            <a:r>
              <a:rPr lang="en-SG" sz="1000" dirty="0"/>
              <a:t>DEFINES+=MBEDTLS_USER_CONFIG_FILE=‘”</a:t>
            </a:r>
            <a:r>
              <a:rPr lang="en-SG" sz="1000" dirty="0" err="1"/>
              <a:t>mbedtls_user_config.h</a:t>
            </a:r>
            <a:r>
              <a:rPr lang="en-SG" sz="1000" dirty="0"/>
              <a:t>”’</a:t>
            </a:r>
          </a:p>
          <a:p>
            <a:pPr marL="450000" lvl="2" indent="0">
              <a:buNone/>
            </a:pPr>
            <a:endParaRPr lang="en-SG" sz="1000" dirty="0"/>
          </a:p>
          <a:p>
            <a:pPr marL="450000" lvl="2" indent="0">
              <a:buNone/>
            </a:pPr>
            <a:r>
              <a:rPr lang="en-SG" sz="1000" dirty="0"/>
              <a:t>DEFINES+=CYBSP_WIFI_CAPABLE </a:t>
            </a:r>
            <a:r>
              <a:rPr lang="en-US" sz="1000" dirty="0"/>
              <a:t>CY_RETARGET_IO_CONVERT_LF_TO_CRLF CY_RTOS_AWARE</a:t>
            </a:r>
            <a:endParaRPr lang="en-SG" sz="1000" dirty="0"/>
          </a:p>
          <a:p>
            <a:pPr marL="450000" lvl="2" indent="0">
              <a:buNone/>
            </a:pPr>
            <a:endParaRPr lang="en-SG" sz="1600" dirty="0"/>
          </a:p>
          <a:p>
            <a:pPr marL="450000" lvl="2" indent="0">
              <a:buNone/>
            </a:pPr>
            <a:r>
              <a:rPr lang="en-SG" sz="1600" dirty="0"/>
              <a:t>Note: There are blank COMPONENTS and DEFINES lines in the file that you can modify. </a:t>
            </a:r>
          </a:p>
          <a:p>
            <a:endParaRPr lang="en-SG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AB409A1-CABD-48FE-B7A8-5C60A1CB60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e the </a:t>
            </a:r>
            <a:r>
              <a:rPr lang="en-US" dirty="0" err="1"/>
              <a:t>makefile</a:t>
            </a:r>
            <a:endParaRPr lang="en-SG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2D27A9A-F5D8-4E76-B8CE-8031FF54291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6BDC3B3-BC36-4812-96DA-BDA24C6F79A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6DEAE2D-F36B-4374-8C91-7B42A887AF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9550" y="1628800"/>
            <a:ext cx="5198149" cy="259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4026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25E07A9-A3B6-47C8-8DE5-222FFDAD44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code</a:t>
            </a:r>
            <a:endParaRPr lang="en-SG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05DE54-2053-4703-B9F5-7FE6714F4E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5F9B24-5E9C-4127-8D67-E61FA79E75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A0856F-A7B8-44CB-8F1E-00A3477867E8}"/>
              </a:ext>
            </a:extLst>
          </p:cNvPr>
          <p:cNvSpPr/>
          <p:nvPr/>
        </p:nvSpPr>
        <p:spPr>
          <a:xfrm>
            <a:off x="6422501" y="2417819"/>
            <a:ext cx="5251654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SG" sz="8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en-SG" sz="8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</a:t>
            </a:r>
            <a:r>
              <a:rPr lang="en-SG" sz="8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SG" sz="800" b="1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 marL="180000" lvl="1"/>
            <a:r>
              <a:rPr lang="en-SG" sz="800" dirty="0" err="1">
                <a:solidFill>
                  <a:srgbClr val="005032"/>
                </a:solidFill>
                <a:latin typeface="Consolas" panose="020B0609020204030204" pitchFamily="49" charset="0"/>
              </a:rPr>
              <a:t>cy_rslt_t</a:t>
            </a:r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 result;</a:t>
            </a:r>
          </a:p>
          <a:p>
            <a:pPr marL="180000" lvl="1"/>
            <a:r>
              <a:rPr lang="en-US" sz="800" dirty="0">
                <a:solidFill>
                  <a:srgbClr val="3F7F5F"/>
                </a:solidFill>
                <a:latin typeface="Consolas" panose="020B0609020204030204" pitchFamily="49" charset="0"/>
              </a:rPr>
              <a:t>/* Initialize the device and board peripherals */</a:t>
            </a:r>
          </a:p>
          <a:p>
            <a:pPr marL="180000" lvl="1"/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result = </a:t>
            </a:r>
            <a:r>
              <a:rPr lang="en-SG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cybsp_init</a:t>
            </a:r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() ;</a:t>
            </a:r>
          </a:p>
          <a:p>
            <a:pPr marL="180000" lvl="1"/>
            <a:r>
              <a:rPr lang="en-US" sz="800" b="1" dirty="0">
                <a:solidFill>
                  <a:srgbClr val="7F0055"/>
                </a:solidFill>
                <a:latin typeface="Consolas" panose="020B0609020204030204" pitchFamily="49" charset="0"/>
              </a:rPr>
              <a:t>if</a:t>
            </a:r>
            <a:r>
              <a:rPr lang="en-US" sz="800" b="1" dirty="0">
                <a:solidFill>
                  <a:srgbClr val="000000"/>
                </a:solidFill>
                <a:latin typeface="Consolas" panose="020B0609020204030204" pitchFamily="49" charset="0"/>
              </a:rPr>
              <a:t> (result != CY_RSLT_SUCCESS)</a:t>
            </a:r>
          </a:p>
          <a:p>
            <a:pPr marL="180000" lvl="1"/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 marL="360000" lvl="2"/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CY_ASSERT(0);</a:t>
            </a:r>
          </a:p>
          <a:p>
            <a:pPr marL="180000" lvl="1"/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 marL="180000" lvl="1"/>
            <a:r>
              <a:rPr lang="en-US" sz="800" dirty="0">
                <a:solidFill>
                  <a:srgbClr val="3F7F5F"/>
                </a:solidFill>
                <a:latin typeface="Consolas" panose="020B0609020204030204" pitchFamily="49" charset="0"/>
              </a:rPr>
              <a:t>/* Initialize retarget-</a:t>
            </a:r>
            <a:r>
              <a:rPr lang="en-US" sz="800" dirty="0" err="1">
                <a:solidFill>
                  <a:srgbClr val="3F7F5F"/>
                </a:solidFill>
                <a:latin typeface="Consolas" panose="020B0609020204030204" pitchFamily="49" charset="0"/>
              </a:rPr>
              <a:t>io</a:t>
            </a:r>
            <a:r>
              <a:rPr lang="en-US" sz="800" dirty="0">
                <a:solidFill>
                  <a:srgbClr val="3F7F5F"/>
                </a:solidFill>
                <a:latin typeface="Consolas" panose="020B0609020204030204" pitchFamily="49" charset="0"/>
              </a:rPr>
              <a:t> to use the debug UART port. */</a:t>
            </a:r>
          </a:p>
          <a:p>
            <a:pPr marL="180000" lvl="1"/>
            <a:r>
              <a:rPr lang="en-SG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cy_retarget_io_init</a:t>
            </a:r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(CYBSP_DEBUG_UART_TX, CYBSP_DEBUG_UART_RX, CY_RETARGET_IO_BAUDRATE);</a:t>
            </a:r>
          </a:p>
          <a:p>
            <a:pPr marL="180000" lvl="1"/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__</a:t>
            </a:r>
            <a:r>
              <a:rPr lang="en-SG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enable_irq</a:t>
            </a:r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marL="180000" lvl="1"/>
            <a:r>
              <a:rPr lang="en-US" sz="800" b="1" dirty="0" err="1">
                <a:solidFill>
                  <a:srgbClr val="642880"/>
                </a:solidFill>
                <a:latin typeface="Consolas" panose="020B0609020204030204" pitchFamily="49" charset="0"/>
              </a:rPr>
              <a:t>printf</a:t>
            </a:r>
            <a:r>
              <a:rPr lang="en-US" sz="8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800" b="1" dirty="0">
                <a:solidFill>
                  <a:srgbClr val="2A00FF"/>
                </a:solidFill>
                <a:latin typeface="Consolas" panose="020B0609020204030204" pitchFamily="49" charset="0"/>
              </a:rPr>
              <a:t>"\x1b[2J\x1b[;H\n"</a:t>
            </a:r>
            <a:r>
              <a:rPr lang="en-US" sz="800" b="1" dirty="0">
                <a:solidFill>
                  <a:srgbClr val="000000"/>
                </a:solidFill>
                <a:latin typeface="Consolas" panose="020B0609020204030204" pitchFamily="49" charset="0"/>
              </a:rPr>
              <a:t>); </a:t>
            </a:r>
            <a:r>
              <a:rPr lang="en-US" sz="800" b="1" dirty="0">
                <a:solidFill>
                  <a:srgbClr val="3F7F5F"/>
                </a:solidFill>
                <a:latin typeface="Consolas" panose="020B0609020204030204" pitchFamily="49" charset="0"/>
              </a:rPr>
              <a:t>/* ANSI ESC sequence to clear screen. */</a:t>
            </a:r>
          </a:p>
          <a:p>
            <a:pPr marL="180000" lvl="1"/>
            <a:r>
              <a:rPr lang="en-US" sz="800" dirty="0">
                <a:solidFill>
                  <a:srgbClr val="3F7F5F"/>
                </a:solidFill>
                <a:latin typeface="Consolas" panose="020B0609020204030204" pitchFamily="49" charset="0"/>
              </a:rPr>
              <a:t>/* Create the </a:t>
            </a:r>
            <a:r>
              <a:rPr lang="en-US" sz="800" dirty="0" err="1">
                <a:solidFill>
                  <a:srgbClr val="3F7F5F"/>
                </a:solidFill>
                <a:latin typeface="Consolas" panose="020B0609020204030204" pitchFamily="49" charset="0"/>
              </a:rPr>
              <a:t>WiFi</a:t>
            </a:r>
            <a:r>
              <a:rPr lang="en-US" sz="800" dirty="0">
                <a:solidFill>
                  <a:srgbClr val="3F7F5F"/>
                </a:solidFill>
                <a:latin typeface="Consolas" panose="020B0609020204030204" pitchFamily="49" charset="0"/>
              </a:rPr>
              <a:t> connection task. */</a:t>
            </a:r>
          </a:p>
          <a:p>
            <a:pPr marL="180000" lvl="1"/>
            <a:r>
              <a:rPr lang="en-US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xTaskCreate</a:t>
            </a:r>
            <a:r>
              <a:rPr lang="en-US" sz="8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wifi_connect</a:t>
            </a:r>
            <a:r>
              <a:rPr lang="en-US" sz="8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  <a:r>
              <a:rPr lang="en-US" sz="800" dirty="0" err="1">
                <a:solidFill>
                  <a:srgbClr val="2A00FF"/>
                </a:solidFill>
                <a:latin typeface="Consolas" panose="020B0609020204030204" pitchFamily="49" charset="0"/>
              </a:rPr>
              <a:t>wifi_connect_task</a:t>
            </a:r>
            <a:r>
              <a:rPr lang="en-US" sz="800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  <a:r>
              <a:rPr lang="en-US" sz="800" dirty="0">
                <a:solidFill>
                  <a:srgbClr val="000000"/>
                </a:solidFill>
                <a:latin typeface="Consolas" panose="020B0609020204030204" pitchFamily="49" charset="0"/>
              </a:rPr>
              <a:t>, 1024, NULL, 5, NULL);</a:t>
            </a:r>
          </a:p>
          <a:p>
            <a:pPr marL="180000" lvl="1"/>
            <a:r>
              <a:rPr lang="en-SG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vTaskStartScheduler</a:t>
            </a:r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(); </a:t>
            </a:r>
            <a:r>
              <a:rPr lang="en-SG" sz="800" dirty="0">
                <a:solidFill>
                  <a:srgbClr val="3F7F5F"/>
                </a:solidFill>
                <a:latin typeface="Consolas" panose="020B0609020204030204" pitchFamily="49" charset="0"/>
              </a:rPr>
              <a:t>/* Never Returns */</a:t>
            </a:r>
          </a:p>
          <a:p>
            <a:pPr marL="180000"/>
            <a:endParaRPr lang="en-SG" sz="800" b="1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80000"/>
            <a:r>
              <a:rPr lang="en-SG" sz="800" b="1" dirty="0">
                <a:solidFill>
                  <a:srgbClr val="7F0055"/>
                </a:solidFill>
                <a:latin typeface="Consolas" panose="020B0609020204030204" pitchFamily="49" charset="0"/>
              </a:rPr>
              <a:t>for</a:t>
            </a:r>
            <a:r>
              <a:rPr lang="en-SG" sz="800" b="1" dirty="0">
                <a:solidFill>
                  <a:srgbClr val="000000"/>
                </a:solidFill>
                <a:latin typeface="Consolas" panose="020B0609020204030204" pitchFamily="49" charset="0"/>
              </a:rPr>
              <a:t> (;;)</a:t>
            </a:r>
          </a:p>
          <a:p>
            <a:pPr marL="180000"/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    {</a:t>
            </a:r>
          </a:p>
          <a:p>
            <a:pPr marL="180000"/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  <a:endParaRPr lang="en-SG" sz="800" dirty="0">
              <a:solidFill>
                <a:srgbClr val="3F7F5F"/>
              </a:solidFill>
              <a:latin typeface="Consolas" panose="020B0609020204030204" pitchFamily="49" charset="0"/>
            </a:endParaRPr>
          </a:p>
          <a:p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89560B2-CB76-431F-860B-D44343F1B0D5}"/>
              </a:ext>
            </a:extLst>
          </p:cNvPr>
          <p:cNvSpPr/>
          <p:nvPr/>
        </p:nvSpPr>
        <p:spPr>
          <a:xfrm>
            <a:off x="289819" y="938568"/>
            <a:ext cx="466869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SG" sz="800" dirty="0">
                <a:solidFill>
                  <a:srgbClr val="3F7F5F"/>
                </a:solidFill>
                <a:latin typeface="Consolas" panose="020B0609020204030204" pitchFamily="49" charset="0"/>
              </a:rPr>
              <a:t>/*******************************************************************************</a:t>
            </a:r>
          </a:p>
          <a:p>
            <a:r>
              <a:rPr lang="en-SG" sz="800" dirty="0">
                <a:solidFill>
                  <a:srgbClr val="3F7F5F"/>
                </a:solidFill>
                <a:latin typeface="Consolas" panose="020B0609020204030204" pitchFamily="49" charset="0"/>
              </a:rPr>
              <a:t>* Header Files</a:t>
            </a:r>
          </a:p>
          <a:p>
            <a:r>
              <a:rPr lang="en-SG" sz="800" dirty="0">
                <a:solidFill>
                  <a:srgbClr val="3F7F5F"/>
                </a:solidFill>
                <a:latin typeface="Consolas" panose="020B0609020204030204" pitchFamily="49" charset="0"/>
              </a:rPr>
              <a:t>*******************************************************************************/</a:t>
            </a:r>
          </a:p>
          <a:p>
            <a:r>
              <a:rPr lang="en-SG" sz="800" b="1" u="sng" dirty="0">
                <a:solidFill>
                  <a:srgbClr val="7F0055"/>
                </a:solidFill>
                <a:latin typeface="Consolas" panose="020B0609020204030204" pitchFamily="49" charset="0"/>
              </a:rPr>
              <a:t>#include</a:t>
            </a:r>
            <a:r>
              <a:rPr lang="en-SG" sz="800" b="1" u="sng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SG" sz="800" b="1" u="sng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  <a:r>
              <a:rPr lang="en-SG" sz="800" b="1" u="sng" dirty="0" err="1">
                <a:solidFill>
                  <a:srgbClr val="2A00FF"/>
                </a:solidFill>
                <a:latin typeface="Consolas" panose="020B0609020204030204" pitchFamily="49" charset="0"/>
              </a:rPr>
              <a:t>cyhal.h</a:t>
            </a:r>
            <a:r>
              <a:rPr lang="en-SG" sz="800" b="1" u="sng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</a:p>
          <a:p>
            <a:r>
              <a:rPr lang="en-SG" sz="800" b="1" dirty="0">
                <a:solidFill>
                  <a:srgbClr val="7F0055"/>
                </a:solidFill>
                <a:latin typeface="Consolas" panose="020B0609020204030204" pitchFamily="49" charset="0"/>
              </a:rPr>
              <a:t>#include</a:t>
            </a:r>
            <a:r>
              <a:rPr lang="en-SG" sz="8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SG" sz="800" b="1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  <a:r>
              <a:rPr lang="en-SG" sz="800" b="1" dirty="0" err="1">
                <a:solidFill>
                  <a:srgbClr val="2A00FF"/>
                </a:solidFill>
                <a:latin typeface="Consolas" panose="020B0609020204030204" pitchFamily="49" charset="0"/>
              </a:rPr>
              <a:t>cybsp.h</a:t>
            </a:r>
            <a:r>
              <a:rPr lang="en-SG" sz="800" b="1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</a:p>
          <a:p>
            <a:r>
              <a:rPr lang="en-SG" sz="800" b="1" u="sng" dirty="0">
                <a:solidFill>
                  <a:srgbClr val="7F0055"/>
                </a:solidFill>
                <a:latin typeface="Consolas" panose="020B0609020204030204" pitchFamily="49" charset="0"/>
              </a:rPr>
              <a:t>#include</a:t>
            </a:r>
            <a:r>
              <a:rPr lang="en-SG" sz="800" b="1" u="sng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SG" sz="800" b="1" u="sng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  <a:r>
              <a:rPr lang="en-SG" sz="800" b="1" u="sng" dirty="0" err="1">
                <a:solidFill>
                  <a:srgbClr val="2A00FF"/>
                </a:solidFill>
                <a:latin typeface="Consolas" panose="020B0609020204030204" pitchFamily="49" charset="0"/>
              </a:rPr>
              <a:t>FreeRTOS.h</a:t>
            </a:r>
            <a:r>
              <a:rPr lang="en-SG" sz="800" b="1" u="sng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</a:p>
          <a:p>
            <a:r>
              <a:rPr lang="en-SG" sz="800" b="1" u="sng" dirty="0">
                <a:solidFill>
                  <a:srgbClr val="7F0055"/>
                </a:solidFill>
                <a:latin typeface="Consolas" panose="020B0609020204030204" pitchFamily="49" charset="0"/>
              </a:rPr>
              <a:t>#include</a:t>
            </a:r>
            <a:r>
              <a:rPr lang="en-SG" sz="800" b="1" u="sng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SG" sz="800" b="1" u="sng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  <a:r>
              <a:rPr lang="en-SG" sz="800" b="1" u="sng" dirty="0" err="1">
                <a:solidFill>
                  <a:srgbClr val="2A00FF"/>
                </a:solidFill>
                <a:latin typeface="Consolas" panose="020B0609020204030204" pitchFamily="49" charset="0"/>
              </a:rPr>
              <a:t>task.h</a:t>
            </a:r>
            <a:r>
              <a:rPr lang="en-SG" sz="800" b="1" u="sng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</a:p>
          <a:p>
            <a:r>
              <a:rPr lang="en-SG" sz="800" b="1" dirty="0">
                <a:solidFill>
                  <a:srgbClr val="7F0055"/>
                </a:solidFill>
                <a:latin typeface="Consolas" panose="020B0609020204030204" pitchFamily="49" charset="0"/>
              </a:rPr>
              <a:t>#include</a:t>
            </a:r>
            <a:r>
              <a:rPr lang="en-SG" sz="8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SG" sz="800" b="1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  <a:r>
              <a:rPr lang="en-SG" sz="800" b="1" dirty="0" err="1">
                <a:solidFill>
                  <a:srgbClr val="2A00FF"/>
                </a:solidFill>
                <a:latin typeface="Consolas" panose="020B0609020204030204" pitchFamily="49" charset="0"/>
              </a:rPr>
              <a:t>wifi_config.h</a:t>
            </a:r>
            <a:r>
              <a:rPr lang="en-SG" sz="800" b="1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</a:p>
          <a:p>
            <a:r>
              <a:rPr lang="en-US" sz="800" b="1" u="sng" dirty="0">
                <a:solidFill>
                  <a:srgbClr val="7F0055"/>
                </a:solidFill>
                <a:latin typeface="Consolas" panose="020B0609020204030204" pitchFamily="49" charset="0"/>
              </a:rPr>
              <a:t>#include</a:t>
            </a:r>
            <a:r>
              <a:rPr lang="en-US" sz="800" b="1" u="sng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800" b="1" u="sng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  <a:r>
              <a:rPr lang="en-US" sz="800" b="1" u="sng" dirty="0" err="1">
                <a:solidFill>
                  <a:srgbClr val="2A00FF"/>
                </a:solidFill>
                <a:latin typeface="Consolas" panose="020B0609020204030204" pitchFamily="49" charset="0"/>
              </a:rPr>
              <a:t>cy_retarget_io.h</a:t>
            </a:r>
            <a:r>
              <a:rPr lang="en-US" sz="800" b="1" u="sng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</a:p>
          <a:p>
            <a:r>
              <a:rPr lang="en-SG" sz="800" b="1" u="sng" dirty="0">
                <a:solidFill>
                  <a:srgbClr val="7F0055"/>
                </a:solidFill>
                <a:latin typeface="Consolas" panose="020B0609020204030204" pitchFamily="49" charset="0"/>
              </a:rPr>
              <a:t>#include</a:t>
            </a:r>
            <a:r>
              <a:rPr lang="en-SG" sz="800" b="1" u="sng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SG" sz="800" b="1" u="sng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  <a:r>
              <a:rPr lang="en-SG" sz="800" b="1" u="sng" dirty="0" err="1">
                <a:solidFill>
                  <a:srgbClr val="2A00FF"/>
                </a:solidFill>
                <a:latin typeface="Consolas" panose="020B0609020204030204" pitchFamily="49" charset="0"/>
              </a:rPr>
              <a:t>cy_wcm.h</a:t>
            </a:r>
            <a:r>
              <a:rPr lang="en-SG" sz="800" b="1" u="sng" dirty="0">
                <a:solidFill>
                  <a:srgbClr val="2A00FF"/>
                </a:solidFill>
                <a:latin typeface="Consolas" panose="020B0609020204030204" pitchFamily="49" charset="0"/>
              </a:rPr>
              <a:t>"</a:t>
            </a:r>
            <a:endParaRPr lang="en-SG" sz="8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2E02F8F-212D-4649-BC3B-8E03D187BE59}"/>
              </a:ext>
            </a:extLst>
          </p:cNvPr>
          <p:cNvSpPr/>
          <p:nvPr/>
        </p:nvSpPr>
        <p:spPr>
          <a:xfrm>
            <a:off x="289819" y="2385118"/>
            <a:ext cx="5899726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SG" sz="800" dirty="0">
                <a:solidFill>
                  <a:srgbClr val="3F7F5F"/>
                </a:solidFill>
                <a:latin typeface="Consolas" panose="020B0609020204030204" pitchFamily="49" charset="0"/>
              </a:rPr>
              <a:t>/*******************************************************************************</a:t>
            </a:r>
          </a:p>
          <a:p>
            <a:r>
              <a:rPr lang="en-SG" sz="800" dirty="0">
                <a:solidFill>
                  <a:srgbClr val="3F7F5F"/>
                </a:solidFill>
                <a:latin typeface="Consolas" panose="020B0609020204030204" pitchFamily="49" charset="0"/>
              </a:rPr>
              <a:t>* Function Definitions</a:t>
            </a:r>
          </a:p>
          <a:p>
            <a:r>
              <a:rPr lang="en-SG" sz="800" dirty="0">
                <a:solidFill>
                  <a:srgbClr val="3F7F5F"/>
                </a:solidFill>
                <a:latin typeface="Consolas" panose="020B0609020204030204" pitchFamily="49" charset="0"/>
              </a:rPr>
              <a:t>*******************************************************************************/</a:t>
            </a:r>
          </a:p>
          <a:p>
            <a:r>
              <a:rPr lang="en-US" sz="8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8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8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wifi_connect</a:t>
            </a:r>
            <a:r>
              <a:rPr lang="en-US" sz="8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8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800" b="1" dirty="0">
                <a:solidFill>
                  <a:srgbClr val="000000"/>
                </a:solidFill>
                <a:latin typeface="Consolas" panose="020B0609020204030204" pitchFamily="49" charset="0"/>
              </a:rPr>
              <a:t> *</a:t>
            </a:r>
            <a:r>
              <a:rPr lang="en-US" sz="8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arg</a:t>
            </a:r>
            <a:r>
              <a:rPr lang="en-US" sz="800" b="1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 marL="180000" lvl="1"/>
            <a:r>
              <a:rPr lang="en-SG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cy_rslt_t</a:t>
            </a:r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 result;</a:t>
            </a:r>
          </a:p>
          <a:p>
            <a:pPr marL="180000" lvl="1"/>
            <a:r>
              <a:rPr lang="en-SG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cy_wcm_connect_params_t</a:t>
            </a:r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SG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connect_param</a:t>
            </a:r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marL="180000" lvl="1"/>
            <a:r>
              <a:rPr lang="en-US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cy_wcm_ip_address_t</a:t>
            </a:r>
            <a:r>
              <a:rPr lang="en-US" sz="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ip_address</a:t>
            </a:r>
            <a:r>
              <a:rPr lang="en-US" sz="8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marL="180000" lvl="1"/>
            <a:r>
              <a:rPr lang="en-SG" sz="800" dirty="0">
                <a:solidFill>
                  <a:srgbClr val="005032"/>
                </a:solidFill>
                <a:latin typeface="Consolas" panose="020B0609020204030204" pitchFamily="49" charset="0"/>
              </a:rPr>
              <a:t>uint32_t</a:t>
            </a:r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SG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retry_count</a:t>
            </a:r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marL="180000" lvl="1"/>
            <a:r>
              <a:rPr lang="en-US" sz="800" dirty="0">
                <a:solidFill>
                  <a:srgbClr val="3F7F5F"/>
                </a:solidFill>
                <a:latin typeface="Consolas" panose="020B0609020204030204" pitchFamily="49" charset="0"/>
              </a:rPr>
              <a:t>/* Configure the interface as a Wi-Fi STA (i.e. Client) and initialize the WCM. */</a:t>
            </a:r>
          </a:p>
          <a:p>
            <a:pPr marL="180000" lvl="1"/>
            <a:r>
              <a:rPr lang="en-SG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cy_wcm_config_t</a:t>
            </a:r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 config = {.interface = CY_WCM_INTERFACE_TYPE_STA};</a:t>
            </a:r>
          </a:p>
          <a:p>
            <a:pPr marL="180000" lvl="1"/>
            <a:r>
              <a:rPr lang="en-SG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cy_wcm_init</a:t>
            </a:r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(&amp;config);</a:t>
            </a:r>
          </a:p>
          <a:p>
            <a:pPr marL="180000" lvl="1"/>
            <a:r>
              <a:rPr lang="en-US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printf</a:t>
            </a:r>
            <a:r>
              <a:rPr lang="en-US" sz="8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2A00FF"/>
                </a:solidFill>
                <a:latin typeface="Consolas" panose="020B0609020204030204" pitchFamily="49" charset="0"/>
              </a:rPr>
              <a:t>"\</a:t>
            </a:r>
            <a:r>
              <a:rPr lang="en-US" sz="800" dirty="0" err="1">
                <a:solidFill>
                  <a:srgbClr val="2A00FF"/>
                </a:solidFill>
                <a:latin typeface="Consolas" panose="020B0609020204030204" pitchFamily="49" charset="0"/>
              </a:rPr>
              <a:t>nWi</a:t>
            </a:r>
            <a:r>
              <a:rPr lang="en-US" sz="800" dirty="0">
                <a:solidFill>
                  <a:srgbClr val="2A00FF"/>
                </a:solidFill>
                <a:latin typeface="Consolas" panose="020B0609020204030204" pitchFamily="49" charset="0"/>
              </a:rPr>
              <a:t>-Fi Connection Manager initialized.\n"</a:t>
            </a:r>
            <a:r>
              <a:rPr lang="en-US" sz="8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180000" lvl="1"/>
            <a:r>
              <a:rPr lang="en-US" sz="800" dirty="0">
                <a:solidFill>
                  <a:srgbClr val="3F7F5F"/>
                </a:solidFill>
                <a:latin typeface="Consolas" panose="020B0609020204030204" pitchFamily="49" charset="0"/>
              </a:rPr>
              <a:t>/* Configure the connection parameters for the Wi-Fi interface. */</a:t>
            </a:r>
          </a:p>
          <a:p>
            <a:pPr marL="180000" lvl="1"/>
            <a:r>
              <a:rPr lang="en-US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memset</a:t>
            </a:r>
            <a:r>
              <a:rPr lang="en-US" sz="800" dirty="0">
                <a:solidFill>
                  <a:srgbClr val="000000"/>
                </a:solidFill>
                <a:latin typeface="Consolas" panose="020B0609020204030204" pitchFamily="49" charset="0"/>
              </a:rPr>
              <a:t>(&amp;</a:t>
            </a:r>
            <a:r>
              <a:rPr lang="en-US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connect_param</a:t>
            </a:r>
            <a:r>
              <a:rPr lang="en-US" sz="800" dirty="0">
                <a:solidFill>
                  <a:srgbClr val="000000"/>
                </a:solidFill>
                <a:latin typeface="Consolas" panose="020B0609020204030204" pitchFamily="49" charset="0"/>
              </a:rPr>
              <a:t>, 0, </a:t>
            </a:r>
            <a:r>
              <a:rPr lang="en-US" sz="800" b="1" dirty="0" err="1">
                <a:solidFill>
                  <a:srgbClr val="7F0055"/>
                </a:solidFill>
                <a:latin typeface="Consolas" panose="020B0609020204030204" pitchFamily="49" charset="0"/>
              </a:rPr>
              <a:t>sizeof</a:t>
            </a:r>
            <a:r>
              <a:rPr lang="en-US" sz="8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8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cy_wcm_connect_params_t</a:t>
            </a:r>
            <a:r>
              <a:rPr lang="en-US" sz="800" b="1" dirty="0">
                <a:solidFill>
                  <a:srgbClr val="000000"/>
                </a:solidFill>
                <a:latin typeface="Consolas" panose="020B0609020204030204" pitchFamily="49" charset="0"/>
              </a:rPr>
              <a:t>));</a:t>
            </a:r>
          </a:p>
          <a:p>
            <a:pPr marL="180000" lvl="1"/>
            <a:r>
              <a:rPr lang="en-SG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memcpy</a:t>
            </a:r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SG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connect_param.</a:t>
            </a:r>
            <a:r>
              <a:rPr lang="en-SG" sz="800" u="sng" dirty="0" err="1">
                <a:solidFill>
                  <a:srgbClr val="000000"/>
                </a:solidFill>
                <a:latin typeface="Consolas" panose="020B0609020204030204" pitchFamily="49" charset="0"/>
              </a:rPr>
              <a:t>ap_credentials.SSID</a:t>
            </a:r>
            <a:r>
              <a:rPr lang="en-SG" sz="800" u="sng" dirty="0">
                <a:solidFill>
                  <a:srgbClr val="000000"/>
                </a:solidFill>
                <a:latin typeface="Consolas" panose="020B0609020204030204" pitchFamily="49" charset="0"/>
              </a:rPr>
              <a:t>, WIFI_SSID, </a:t>
            </a:r>
            <a:r>
              <a:rPr lang="en-SG" sz="800" b="1" u="sng" dirty="0" err="1">
                <a:solidFill>
                  <a:srgbClr val="7F0055"/>
                </a:solidFill>
                <a:latin typeface="Consolas" panose="020B0609020204030204" pitchFamily="49" charset="0"/>
              </a:rPr>
              <a:t>sizeof</a:t>
            </a:r>
            <a:r>
              <a:rPr lang="en-SG" sz="800" b="1" u="sng" dirty="0">
                <a:solidFill>
                  <a:srgbClr val="000000"/>
                </a:solidFill>
                <a:latin typeface="Consolas" panose="020B0609020204030204" pitchFamily="49" charset="0"/>
              </a:rPr>
              <a:t>(WIFI_SSID));</a:t>
            </a:r>
          </a:p>
          <a:p>
            <a:pPr marL="180000" lvl="1"/>
            <a:r>
              <a:rPr lang="en-SG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memcpy</a:t>
            </a:r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SG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connect_param.</a:t>
            </a:r>
            <a:r>
              <a:rPr lang="en-SG" sz="800" u="sng" dirty="0" err="1">
                <a:solidFill>
                  <a:srgbClr val="000000"/>
                </a:solidFill>
                <a:latin typeface="Consolas" panose="020B0609020204030204" pitchFamily="49" charset="0"/>
              </a:rPr>
              <a:t>ap_credentials.password</a:t>
            </a:r>
            <a:r>
              <a:rPr lang="en-SG" sz="800" u="sng" dirty="0">
                <a:solidFill>
                  <a:srgbClr val="000000"/>
                </a:solidFill>
                <a:latin typeface="Consolas" panose="020B0609020204030204" pitchFamily="49" charset="0"/>
              </a:rPr>
              <a:t>, WIFI_PASSWORD, </a:t>
            </a:r>
            <a:r>
              <a:rPr lang="en-SG" sz="800" b="1" u="sng" dirty="0" err="1">
                <a:solidFill>
                  <a:srgbClr val="7F0055"/>
                </a:solidFill>
                <a:latin typeface="Consolas" panose="020B0609020204030204" pitchFamily="49" charset="0"/>
              </a:rPr>
              <a:t>sizeof</a:t>
            </a:r>
            <a:r>
              <a:rPr lang="en-SG" sz="800" b="1" u="sng" dirty="0">
                <a:solidFill>
                  <a:srgbClr val="000000"/>
                </a:solidFill>
                <a:latin typeface="Consolas" panose="020B0609020204030204" pitchFamily="49" charset="0"/>
              </a:rPr>
              <a:t>(WIFI_PASSWORD));</a:t>
            </a:r>
          </a:p>
          <a:p>
            <a:pPr marL="180000" lvl="1"/>
            <a:r>
              <a:rPr lang="en-US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connect_param.</a:t>
            </a:r>
            <a:r>
              <a:rPr lang="en-US" sz="800" u="sng" dirty="0" err="1">
                <a:solidFill>
                  <a:srgbClr val="000000"/>
                </a:solidFill>
                <a:latin typeface="Consolas" panose="020B0609020204030204" pitchFamily="49" charset="0"/>
              </a:rPr>
              <a:t>ap_credentials.security</a:t>
            </a:r>
            <a:r>
              <a:rPr lang="en-US" sz="800" u="sng" dirty="0">
                <a:solidFill>
                  <a:srgbClr val="000000"/>
                </a:solidFill>
                <a:latin typeface="Consolas" panose="020B0609020204030204" pitchFamily="49" charset="0"/>
              </a:rPr>
              <a:t> = WIFI_SECURITY;</a:t>
            </a:r>
          </a:p>
          <a:p>
            <a:pPr marL="180000" lvl="1"/>
            <a:r>
              <a:rPr lang="en-US" sz="800" dirty="0">
                <a:solidFill>
                  <a:srgbClr val="3F7F5F"/>
                </a:solidFill>
                <a:latin typeface="Consolas" panose="020B0609020204030204" pitchFamily="49" charset="0"/>
              </a:rPr>
              <a:t>/* Connect to the Wi-Fi AP. */</a:t>
            </a:r>
          </a:p>
          <a:p>
            <a:pPr marL="180000" lvl="1"/>
            <a:r>
              <a:rPr lang="en-US" sz="800" b="1" dirty="0">
                <a:solidFill>
                  <a:srgbClr val="7F0055"/>
                </a:solidFill>
                <a:latin typeface="Consolas" panose="020B0609020204030204" pitchFamily="49" charset="0"/>
              </a:rPr>
              <a:t>for</a:t>
            </a:r>
            <a:r>
              <a:rPr lang="en-US" sz="8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8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retry_count</a:t>
            </a:r>
            <a:r>
              <a:rPr lang="en-US" sz="800" b="1" dirty="0">
                <a:solidFill>
                  <a:srgbClr val="000000"/>
                </a:solidFill>
                <a:latin typeface="Consolas" panose="020B0609020204030204" pitchFamily="49" charset="0"/>
              </a:rPr>
              <a:t> = 0; </a:t>
            </a:r>
            <a:r>
              <a:rPr lang="en-US" sz="8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retry_count</a:t>
            </a:r>
            <a:r>
              <a:rPr lang="en-US" sz="800" b="1" dirty="0">
                <a:solidFill>
                  <a:srgbClr val="000000"/>
                </a:solidFill>
                <a:latin typeface="Consolas" panose="020B0609020204030204" pitchFamily="49" charset="0"/>
              </a:rPr>
              <a:t> &lt; MAX_WIFI_CONN_RETRIES; </a:t>
            </a:r>
            <a:r>
              <a:rPr lang="en-US" sz="8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retry_count</a:t>
            </a:r>
            <a:r>
              <a:rPr lang="en-US" sz="800" b="1" dirty="0">
                <a:solidFill>
                  <a:srgbClr val="000000"/>
                </a:solidFill>
                <a:latin typeface="Consolas" panose="020B0609020204030204" pitchFamily="49" charset="0"/>
              </a:rPr>
              <a:t>++)</a:t>
            </a:r>
          </a:p>
          <a:p>
            <a:pPr marL="180000" lvl="1"/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 marL="360000" lvl="1"/>
            <a:r>
              <a:rPr lang="en-US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printf</a:t>
            </a:r>
            <a:r>
              <a:rPr lang="en-US" sz="8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2A00FF"/>
                </a:solidFill>
                <a:latin typeface="Consolas" panose="020B0609020204030204" pitchFamily="49" charset="0"/>
              </a:rPr>
              <a:t>"Connecting to Wi-Fi AP '%s'\n"</a:t>
            </a:r>
            <a:r>
              <a:rPr lang="en-US" sz="8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connect_param.</a:t>
            </a:r>
            <a:r>
              <a:rPr lang="en-US" sz="800" u="sng" dirty="0" err="1">
                <a:solidFill>
                  <a:srgbClr val="000000"/>
                </a:solidFill>
                <a:latin typeface="Consolas" panose="020B0609020204030204" pitchFamily="49" charset="0"/>
              </a:rPr>
              <a:t>ap_credentials.SSID</a:t>
            </a:r>
            <a:r>
              <a:rPr lang="en-US" sz="800" u="sng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360000" lvl="1"/>
            <a:r>
              <a:rPr lang="en-US" sz="800" dirty="0">
                <a:solidFill>
                  <a:srgbClr val="000000"/>
                </a:solidFill>
                <a:latin typeface="Consolas" panose="020B0609020204030204" pitchFamily="49" charset="0"/>
              </a:rPr>
              <a:t>result = </a:t>
            </a:r>
            <a:r>
              <a:rPr lang="en-US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cy_wcm_connect_ap</a:t>
            </a:r>
            <a:r>
              <a:rPr lang="en-US" sz="800" dirty="0">
                <a:solidFill>
                  <a:srgbClr val="000000"/>
                </a:solidFill>
                <a:latin typeface="Consolas" panose="020B0609020204030204" pitchFamily="49" charset="0"/>
              </a:rPr>
              <a:t>(&amp;</a:t>
            </a:r>
            <a:r>
              <a:rPr lang="en-US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connect_param</a:t>
            </a:r>
            <a:r>
              <a:rPr lang="en-US" sz="800" dirty="0">
                <a:solidFill>
                  <a:srgbClr val="000000"/>
                </a:solidFill>
                <a:latin typeface="Consolas" panose="020B0609020204030204" pitchFamily="49" charset="0"/>
              </a:rPr>
              <a:t>, &amp;</a:t>
            </a:r>
            <a:r>
              <a:rPr lang="en-US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ip_address</a:t>
            </a:r>
            <a:r>
              <a:rPr lang="en-US" sz="8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360000" lvl="1"/>
            <a:r>
              <a:rPr lang="en-US" sz="800" b="1" dirty="0">
                <a:solidFill>
                  <a:srgbClr val="7F0055"/>
                </a:solidFill>
                <a:latin typeface="Consolas" panose="020B0609020204030204" pitchFamily="49" charset="0"/>
              </a:rPr>
              <a:t>if</a:t>
            </a:r>
            <a:r>
              <a:rPr lang="en-US" sz="800" b="1" dirty="0">
                <a:solidFill>
                  <a:srgbClr val="000000"/>
                </a:solidFill>
                <a:latin typeface="Consolas" panose="020B0609020204030204" pitchFamily="49" charset="0"/>
              </a:rPr>
              <a:t> (result == CY_RSLT_SUCCESS)</a:t>
            </a:r>
          </a:p>
          <a:p>
            <a:pPr marL="360000" lvl="1"/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 marL="540000" lvl="1"/>
            <a:r>
              <a:rPr lang="en-US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printf</a:t>
            </a:r>
            <a:r>
              <a:rPr lang="en-US" sz="8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800" dirty="0">
                <a:solidFill>
                  <a:srgbClr val="2A00FF"/>
                </a:solidFill>
                <a:latin typeface="Consolas" panose="020B0609020204030204" pitchFamily="49" charset="0"/>
              </a:rPr>
              <a:t>"Successfully connected to Wi-Fi network '%s'.\n"</a:t>
            </a:r>
            <a:r>
              <a:rPr lang="en-US" sz="8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r>
              <a:rPr lang="en-US" sz="800" dirty="0" err="1">
                <a:solidFill>
                  <a:srgbClr val="000000"/>
                </a:solidFill>
                <a:latin typeface="Consolas" panose="020B0609020204030204" pitchFamily="49" charset="0"/>
              </a:rPr>
              <a:t>connect_param.</a:t>
            </a:r>
            <a:r>
              <a:rPr lang="en-US" sz="800" u="sng" dirty="0" err="1">
                <a:solidFill>
                  <a:srgbClr val="000000"/>
                </a:solidFill>
                <a:latin typeface="Consolas" panose="020B0609020204030204" pitchFamily="49" charset="0"/>
              </a:rPr>
              <a:t>ap_credentials.SSID</a:t>
            </a:r>
            <a:r>
              <a:rPr lang="en-US" sz="800" u="sng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540000" lvl="1"/>
            <a:r>
              <a:rPr lang="en-SG" sz="800" b="1" dirty="0">
                <a:solidFill>
                  <a:srgbClr val="7F0055"/>
                </a:solidFill>
                <a:latin typeface="Consolas" panose="020B0609020204030204" pitchFamily="49" charset="0"/>
              </a:rPr>
              <a:t>break</a:t>
            </a:r>
            <a:r>
              <a:rPr lang="en-SG" sz="800" b="1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marL="360000" lvl="1"/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 marL="180000" lvl="1"/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 marL="180000" lvl="1"/>
            <a:r>
              <a:rPr lang="en-SG" sz="800" b="1" dirty="0">
                <a:solidFill>
                  <a:srgbClr val="7F0055"/>
                </a:solidFill>
                <a:latin typeface="Consolas" panose="020B0609020204030204" pitchFamily="49" charset="0"/>
              </a:rPr>
              <a:t>for</a:t>
            </a:r>
            <a:r>
              <a:rPr lang="en-SG" sz="800" b="1" dirty="0">
                <a:solidFill>
                  <a:srgbClr val="000000"/>
                </a:solidFill>
                <a:latin typeface="Consolas" panose="020B0609020204030204" pitchFamily="49" charset="0"/>
              </a:rPr>
              <a:t>(;;) {</a:t>
            </a:r>
          </a:p>
          <a:p>
            <a:pPr marL="180000" lvl="1"/>
            <a:r>
              <a:rPr lang="en-SG" sz="800" dirty="0">
                <a:solidFill>
                  <a:srgbClr val="3F7F5F"/>
                </a:solidFill>
                <a:latin typeface="Consolas" panose="020B0609020204030204" pitchFamily="49" charset="0"/>
              </a:rPr>
              <a:t>//Enter code to handle LED</a:t>
            </a:r>
          </a:p>
          <a:p>
            <a:pPr marL="180000" lvl="1"/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r>
              <a:rPr lang="en-SG" sz="8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D0B5281E-AC11-47BA-8212-0A4744751F8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15880" y="1017388"/>
            <a:ext cx="6919304" cy="719999"/>
          </a:xfrm>
        </p:spPr>
        <p:txBody>
          <a:bodyPr/>
          <a:lstStyle/>
          <a:p>
            <a:pPr marL="612900" lvl="1" indent="-342900">
              <a:buFont typeface="+mj-lt"/>
              <a:buAutoNum type="arabicPeriod" startAt="10"/>
            </a:pPr>
            <a:r>
              <a:rPr lang="en-SG" sz="1800" dirty="0"/>
              <a:t>Add the following code into </a:t>
            </a:r>
            <a:r>
              <a:rPr lang="en-SG" sz="1800" dirty="0" err="1"/>
              <a:t>main.c</a:t>
            </a:r>
            <a:endParaRPr lang="en-SG" sz="1800" dirty="0"/>
          </a:p>
          <a:p>
            <a:pPr marL="0" indent="0">
              <a:buNone/>
            </a:pP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24293044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EMPOWER.INTEGRATIONS.LOCALMASTER" val="{&quot;path&quot;:null,&quot;elementId&quot;:&quot;8065601e-5703-48da-bebd-d15d5a0b2647&quot;,&quot;elementName&quot;:null,&quot;databaseId&quot;:&quot;FDE84254-54DB-49E3-9A0E-CDE72035D530&quot;,&quot;timeStamp&quot;:&quot;2022-07-16T06:32:14&quot;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e8785876-dc2b-4143-923c-c6522b38cd46"/>
  <p:tag name="MIO_GUID" val="5b57cd2a-5ac6-4e24-a735-82c908f488c4"/>
  <p:tag name="MIO_UPDATE" val="True"/>
  <p:tag name="MIO_VERSION" val="06.04.2021 15:15:23"/>
  <p:tag name="MIO_DBID" val="FDE84254-54DB-49E3-9A0E-CDE72035D530"/>
  <p:tag name="MIO_LASTDOWNLOADED" val="24.11.2022 11:18:07.293"/>
  <p:tag name="MIO_OBJECTNAME" val="Smart home 2"/>
  <p:tag name="MIO_LASTEDITORNAME" val="Miguel Madeyski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5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19"/>
  <p:tag name="MIO_MATCH_COLOR_SCHEME" val="True"/>
  <p:tag name="MIO_EMBED_FONT" val="False"/>
  <p:tag name="MIO_HDS" val="True"/>
  <p:tag name="MIO_SKIPVERSION" val="01.01.0001 00:00:00"/>
  <p:tag name="MIO_EKGUID" val="8065601e-5703-48da-bebd-d15d5a0b2647"/>
  <p:tag name="MIO_UPDATE" val="True"/>
  <p:tag name="MIO_VERSION" val="16.07.2022 06:32:14"/>
  <p:tag name="MIO_DBID" val="FDE84254-54DB-49E3-9A0E-CDE72035D530"/>
  <p:tag name="MIO_LASTDOWNLOADED" val="21.07.2022 13:19:18.843"/>
  <p:tag name="MIO_OBJECTNAME" val="Infineon LCD 16:9"/>
  <p:tag name="MIO_CDID" val="906d5752-464b-466e-b4dc-f788d8f8048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- new SU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F07F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4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eaLnBrk="0" hangingPunct="0">
          <a:defRPr sz="1600" baseline="0" dirty="0">
            <a:latin typeface="+mn-lt"/>
            <a:ea typeface="+mn-ea"/>
            <a:cs typeface="+mn-cs"/>
          </a:defRPr>
        </a:defPPr>
      </a:lst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ctr" anchorCtr="0">
        <a:noAutofit/>
      </a:bodyPr>
      <a:lstStyle>
        <a:defPPr marL="180000" marR="0" indent="-180000" algn="l" defTabSz="576000" eaLnBrk="0" fontAlgn="auto" latinLnBrk="0" hangingPunct="0">
          <a:spcBef>
            <a:spcPts val="0"/>
          </a:spcBef>
          <a:spcAft>
            <a:spcPts val="0"/>
          </a:spcAft>
          <a:buClr>
            <a:schemeClr val="accent1"/>
          </a:buClr>
          <a:buSzTx/>
          <a:buFont typeface="Arial" panose="020B0604020202020204" pitchFamily="34" charset="0"/>
          <a:buChar char="›"/>
          <a:tabLst/>
          <a:defRPr sz="14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.pptx" id="{C7DE5BB9-8AD4-46B4-A5B6-EAD7E28195ED}" vid="{924A2F00-7475-414F-B672-84A782521503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2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299A1D5-F553-4264-9022-E0136C61CE27}">
  <ds:schemaRefs>
    <ds:schemaRef ds:uri="http://schemas.microsoft.com/office/2006/documentManagement/types"/>
    <ds:schemaRef ds:uri="http://purl.org/dc/elements/1.1/"/>
    <ds:schemaRef ds:uri="a709603d-609a-478b-a91d-3c5e984c0e79"/>
    <ds:schemaRef ds:uri="http://purl.org/dc/terms/"/>
    <ds:schemaRef ds:uri="http://purl.org/dc/dcmitype/"/>
    <ds:schemaRef ds:uri="6ef45842-284e-44e4-b2db-1749e7948b44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6049</TotalTime>
  <Words>3486</Words>
  <Application>Microsoft Office PowerPoint</Application>
  <PresentationFormat>Widescreen</PresentationFormat>
  <Paragraphs>480</Paragraphs>
  <Slides>28</Slides>
  <Notes>11</Notes>
  <HiddenSlides>5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2" baseType="lpstr">
      <vt:lpstr>Arial</vt:lpstr>
      <vt:lpstr>Consolas</vt:lpstr>
      <vt:lpstr>Verdana</vt:lpstr>
      <vt:lpstr>Infineon 16:9</vt:lpstr>
      <vt:lpstr>PSoC6 WIFI Hands On Training</vt:lpstr>
      <vt:lpstr>Connect to WPA2 Wi-Fi network</vt:lpstr>
      <vt:lpstr>Objective</vt:lpstr>
      <vt:lpstr>Create App and add Library</vt:lpstr>
      <vt:lpstr>Copy and Edit files</vt:lpstr>
      <vt:lpstr>Copy and Edit files</vt:lpstr>
      <vt:lpstr>Create a file wifi_config.h</vt:lpstr>
      <vt:lpstr>Configure the makefile</vt:lpstr>
      <vt:lpstr>Main code</vt:lpstr>
      <vt:lpstr>Copy and Edit files</vt:lpstr>
      <vt:lpstr>Built and Run the program</vt:lpstr>
      <vt:lpstr>Secure TCP connection</vt:lpstr>
      <vt:lpstr>Secure TCP connection</vt:lpstr>
      <vt:lpstr>Results</vt:lpstr>
      <vt:lpstr>Secure TCP client - One time (during initialization)</vt:lpstr>
      <vt:lpstr>Secure TCP client – each time you want to send / receive data </vt:lpstr>
      <vt:lpstr>Secure TCP server – One time (during initialization)</vt:lpstr>
      <vt:lpstr>Secure TCP server – each time you want to setup and accept a connection</vt:lpstr>
      <vt:lpstr>MQTT via Mosquitto broker</vt:lpstr>
      <vt:lpstr>Objective</vt:lpstr>
      <vt:lpstr>Edit wifi_config.h</vt:lpstr>
      <vt:lpstr>Generate Client key</vt:lpstr>
      <vt:lpstr>Generate Client Certificate</vt:lpstr>
      <vt:lpstr>Download CA certificate</vt:lpstr>
      <vt:lpstr>Edit file mqtt_client.h</vt:lpstr>
      <vt:lpstr>Edit file mqtt_client.h</vt:lpstr>
      <vt:lpstr>Build and run the program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Too Chang Min Travis (IFAP CSS SMD AP TA FAE)</dc:creator>
  <cp:lastModifiedBy>s j</cp:lastModifiedBy>
  <cp:revision>165</cp:revision>
  <dcterms:created xsi:type="dcterms:W3CDTF">2022-11-24T03:16:18Z</dcterms:created>
  <dcterms:modified xsi:type="dcterms:W3CDTF">2023-04-20T10:17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2-07-16T06:30:15Z</vt:filetime>
  </property>
  <property fmtid="{D5CDD505-2E9C-101B-9397-08002B2CF9AE}" pid="15" name="empower.integration.Classification.DateFormat">
    <vt:lpwstr>yyyy-MM-dd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</Properties>
</file>